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 id="2147483661" r:id="rId5"/>
    <p:sldMasterId id="2147483663" r:id="rId6"/>
    <p:sldMasterId id="2147483666" r:id="rId7"/>
  </p:sldMasterIdLst>
  <p:notesMasterIdLst>
    <p:notesMasterId r:id="rId23"/>
  </p:notesMasterIdLst>
  <p:handoutMasterIdLst>
    <p:handoutMasterId r:id="rId24"/>
  </p:handoutMasterIdLst>
  <p:sldIdLst>
    <p:sldId id="263" r:id="rId8"/>
    <p:sldId id="524" r:id="rId9"/>
    <p:sldId id="542" r:id="rId10"/>
    <p:sldId id="543" r:id="rId11"/>
    <p:sldId id="544" r:id="rId12"/>
    <p:sldId id="539" r:id="rId13"/>
    <p:sldId id="541" r:id="rId14"/>
    <p:sldId id="540" r:id="rId15"/>
    <p:sldId id="546" r:id="rId16"/>
    <p:sldId id="547" r:id="rId17"/>
    <p:sldId id="545" r:id="rId18"/>
    <p:sldId id="549" r:id="rId19"/>
    <p:sldId id="548" r:id="rId20"/>
    <p:sldId id="550" r:id="rId21"/>
    <p:sldId id="275" r:id="rId22"/>
  </p:sldIdLst>
  <p:sldSz cx="13004800" cy="9753600"/>
  <p:notesSz cx="9928225" cy="6797675"/>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1pPr>
    <a:lvl2pPr marL="0" marR="0" indent="2286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2pPr>
    <a:lvl3pPr marL="0" marR="0" indent="4572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3pPr>
    <a:lvl4pPr marL="0" marR="0" indent="6858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4pPr>
    <a:lvl5pPr marL="0" marR="0" indent="9144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5pPr>
    <a:lvl6pPr marL="0" marR="0" indent="11430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6pPr>
    <a:lvl7pPr marL="0" marR="0" indent="13716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7pPr>
    <a:lvl8pPr marL="0" marR="0" indent="16002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8pPr>
    <a:lvl9pPr marL="0" marR="0" indent="18288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3072">
          <p15:clr>
            <a:srgbClr val="A4A3A4"/>
          </p15:clr>
        </p15:guide>
        <p15:guide id="2" pos="409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F0D9"/>
    <a:srgbClr val="F8CBAD"/>
    <a:srgbClr val="FFF2CC"/>
    <a:srgbClr val="6699FF"/>
    <a:srgbClr val="F3C000"/>
    <a:srgbClr val="00793C"/>
    <a:srgbClr val="C34322"/>
    <a:srgbClr val="9F7C6D"/>
    <a:srgbClr val="009999"/>
    <a:srgbClr val="A1D6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FFFFFF"/>
      </a:tcTxStyle>
      <a:tcStyle>
        <a:tcBdr>
          <a:left>
            <a:ln w="12700" cap="flat">
              <a:solidFill>
                <a:srgbClr val="D6D7D6"/>
              </a:solidFill>
              <a:prstDash val="solid"/>
              <a:miter lim="400000"/>
            </a:ln>
          </a:left>
          <a:right>
            <a:ln w="12700" cap="flat">
              <a:solidFill>
                <a:srgbClr val="D6D7D6"/>
              </a:solidFill>
              <a:prstDash val="solid"/>
              <a:miter lim="400000"/>
            </a:ln>
          </a:right>
          <a:top>
            <a:ln w="12700" cap="flat">
              <a:solidFill>
                <a:srgbClr val="D6D7D6"/>
              </a:solidFill>
              <a:prstDash val="solid"/>
              <a:miter lim="400000"/>
            </a:ln>
          </a:top>
          <a:bottom>
            <a:ln w="12700" cap="flat">
              <a:solidFill>
                <a:srgbClr val="D6D7D6"/>
              </a:solidFill>
              <a:prstDash val="solid"/>
              <a:miter lim="400000"/>
            </a:ln>
          </a:bottom>
          <a:insideH>
            <a:ln w="12700" cap="flat">
              <a:solidFill>
                <a:srgbClr val="D6D7D6"/>
              </a:solidFill>
              <a:prstDash val="solid"/>
              <a:miter lim="400000"/>
            </a:ln>
          </a:insideH>
          <a:insideV>
            <a:ln w="12700"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solidFill>
                <a:srgbClr val="D6D6D6"/>
              </a:solidFill>
              <a:prstDash val="solid"/>
              <a:miter lim="400000"/>
            </a:ln>
          </a:left>
          <a:right>
            <a:ln w="25400" cap="flat">
              <a:solidFill>
                <a:srgbClr val="D6D7D6"/>
              </a:solidFill>
              <a:prstDash val="solid"/>
              <a:miter lim="400000"/>
            </a:ln>
          </a:right>
          <a:top>
            <a:ln w="12700" cap="flat">
              <a:solidFill>
                <a:srgbClr val="D6D7D6"/>
              </a:solidFill>
              <a:prstDash val="solid"/>
              <a:miter lim="400000"/>
            </a:ln>
          </a:top>
          <a:bottom>
            <a:ln w="12700" cap="flat">
              <a:solidFill>
                <a:srgbClr val="D6D7D6"/>
              </a:solidFill>
              <a:prstDash val="solid"/>
              <a:miter lim="400000"/>
            </a:ln>
          </a:bottom>
          <a:insideH>
            <a:ln w="12700" cap="flat">
              <a:solidFill>
                <a:srgbClr val="D6D7D6"/>
              </a:solidFill>
              <a:prstDash val="solid"/>
              <a:miter lim="400000"/>
            </a:ln>
          </a:insideH>
          <a:insideV>
            <a:ln w="12700" cap="flat">
              <a:solidFill>
                <a:srgbClr val="D6D7D6"/>
              </a:solidFill>
              <a:prstDash val="solid"/>
              <a:miter lim="400000"/>
            </a:ln>
          </a:insideV>
        </a:tcBdr>
        <a:fill>
          <a:solidFill>
            <a:schemeClr val="accent1"/>
          </a:solidFill>
        </a:fill>
      </a:tcStyle>
    </a:firstCol>
    <a:lastRow>
      <a:tcTxStyle b="off" i="off">
        <a:font>
          <a:latin typeface="Helvetica Neue"/>
          <a:ea typeface="Helvetica Neue"/>
          <a:cs typeface="Helvetica Neue"/>
        </a:font>
        <a:srgbClr val="FFFFFF"/>
      </a:tcTxStyle>
      <a:tcStyle>
        <a:tcBdr>
          <a:left>
            <a:ln w="12700" cap="flat">
              <a:solidFill>
                <a:srgbClr val="D6D7D6"/>
              </a:solidFill>
              <a:prstDash val="solid"/>
              <a:miter lim="400000"/>
            </a:ln>
          </a:left>
          <a:right>
            <a:ln w="12700" cap="flat">
              <a:solidFill>
                <a:srgbClr val="D6D7D6"/>
              </a:solidFill>
              <a:prstDash val="solid"/>
              <a:miter lim="400000"/>
            </a:ln>
          </a:right>
          <a:top>
            <a:ln w="25400" cap="flat">
              <a:solidFill>
                <a:srgbClr val="D6D7D6"/>
              </a:solidFill>
              <a:prstDash val="solid"/>
              <a:miter lim="400000"/>
            </a:ln>
          </a:top>
          <a:bottom>
            <a:ln w="12700" cap="flat">
              <a:solidFill>
                <a:srgbClr val="D6D6D6"/>
              </a:solidFill>
              <a:prstDash val="solid"/>
              <a:miter lim="400000"/>
            </a:ln>
          </a:bottom>
          <a:insideH>
            <a:ln w="12700" cap="flat">
              <a:solidFill>
                <a:srgbClr val="D6D7D6"/>
              </a:solidFill>
              <a:prstDash val="solid"/>
              <a:miter lim="400000"/>
            </a:ln>
          </a:insideH>
          <a:insideV>
            <a:ln w="12700" cap="flat">
              <a:solidFill>
                <a:srgbClr val="D6D7D6"/>
              </a:solidFill>
              <a:prstDash val="solid"/>
              <a:miter lim="400000"/>
            </a:ln>
          </a:insideV>
        </a:tcBdr>
        <a:fill>
          <a:solidFill>
            <a:srgbClr val="032650"/>
          </a:solidFill>
        </a:fill>
      </a:tcStyle>
    </a:lastRow>
    <a:firstRow>
      <a:tcTxStyle b="on" i="off">
        <a:font>
          <a:latin typeface="Helvetica Neue"/>
          <a:ea typeface="Helvetica Neue"/>
          <a:cs typeface="Helvetica Neue"/>
        </a:font>
        <a:srgbClr val="FFFFFF"/>
      </a:tcTxStyle>
      <a:tcStyle>
        <a:tcBdr>
          <a:left>
            <a:ln w="12700" cap="flat">
              <a:solidFill>
                <a:srgbClr val="D6D7D6"/>
              </a:solidFill>
              <a:prstDash val="solid"/>
              <a:miter lim="400000"/>
            </a:ln>
          </a:left>
          <a:right>
            <a:ln w="12700" cap="flat">
              <a:solidFill>
                <a:srgbClr val="D6D7D6"/>
              </a:solidFill>
              <a:prstDash val="solid"/>
              <a:miter lim="400000"/>
            </a:ln>
          </a:right>
          <a:top>
            <a:ln w="12700" cap="flat">
              <a:solidFill>
                <a:srgbClr val="D6D6D6"/>
              </a:solidFill>
              <a:prstDash val="solid"/>
              <a:miter lim="400000"/>
            </a:ln>
          </a:top>
          <a:bottom>
            <a:ln w="25400" cap="flat">
              <a:solidFill>
                <a:srgbClr val="D6D7D6"/>
              </a:solidFill>
              <a:prstDash val="solid"/>
              <a:miter lim="400000"/>
            </a:ln>
          </a:bottom>
          <a:insideH>
            <a:ln w="12700" cap="flat">
              <a:solidFill>
                <a:srgbClr val="D6D7D6"/>
              </a:solidFill>
              <a:prstDash val="solid"/>
              <a:miter lim="400000"/>
            </a:ln>
          </a:insideH>
          <a:insideV>
            <a:ln w="12700" cap="flat">
              <a:solidFill>
                <a:srgbClr val="D6D7D6"/>
              </a:solidFill>
              <a:prstDash val="solid"/>
              <a:miter lim="400000"/>
            </a:ln>
          </a:insideV>
        </a:tcBdr>
        <a:fill>
          <a:solidFill>
            <a:srgbClr val="032650"/>
          </a:solidFill>
        </a:fill>
      </a:tcStyle>
    </a:firstRow>
  </a:tblStyle>
  <a:tblStyle styleId="{C7B018BB-80A7-4F77-B60F-C8B233D01FF8}" styleName="">
    <a:tblBg/>
    <a:wholeTbl>
      <a:tcTxStyle b="off" i="off">
        <a:font>
          <a:latin typeface="Helvetica Neue"/>
          <a:ea typeface="Helvetica Neue"/>
          <a:cs typeface="Helvetica Neue"/>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929292"/>
              </a:solidFill>
              <a:prstDash val="solid"/>
              <a:miter lim="400000"/>
            </a:ln>
          </a:top>
          <a:bottom>
            <a:ln w="12700" cap="flat">
              <a:solidFill>
                <a:srgbClr val="929292"/>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84E00"/>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17101"/>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17101"/>
          </a:solidFill>
        </a:fill>
      </a:tcStyle>
    </a:firstRow>
  </a:tblStyle>
  <a:tblStyle styleId="{EEE7283C-3CF3-47DC-8721-378D4A62B228}" styleName="">
    <a:tblBg/>
    <a:wholeTbl>
      <a:tcTxStyle b="off" i="off">
        <a:font>
          <a:latin typeface="Helvetica Neue"/>
          <a:ea typeface="Helvetica Neue"/>
          <a:cs typeface="Helvetica Neue"/>
        </a:font>
        <a:srgbClr val="FFFFFF"/>
      </a:tcTxStyle>
      <a:tcStyle>
        <a:tcBdr>
          <a:left>
            <a:ln w="12700" cap="flat">
              <a:solidFill>
                <a:srgbClr val="AAAAAA"/>
              </a:solidFill>
              <a:prstDash val="solid"/>
              <a:miter lim="400000"/>
            </a:ln>
          </a:left>
          <a:right>
            <a:ln w="12700" cap="flat">
              <a:solidFill>
                <a:srgbClr val="AAAAAA"/>
              </a:solidFill>
              <a:prstDash val="solid"/>
              <a:miter lim="400000"/>
            </a:ln>
          </a:right>
          <a:top>
            <a:ln w="12700" cap="flat">
              <a:solidFill>
                <a:srgbClr val="AAAAAA"/>
              </a:solidFill>
              <a:prstDash val="solid"/>
              <a:miter lim="400000"/>
            </a:ln>
          </a:top>
          <a:bottom>
            <a:ln w="12700" cap="flat">
              <a:solidFill>
                <a:srgbClr val="AAAAAA"/>
              </a:solidFill>
              <a:prstDash val="solid"/>
              <a:miter lim="400000"/>
            </a:ln>
          </a:bottom>
          <a:insideH>
            <a:ln w="12700" cap="flat">
              <a:solidFill>
                <a:srgbClr val="AAAAAA"/>
              </a:solidFill>
              <a:prstDash val="solid"/>
              <a:miter lim="400000"/>
            </a:ln>
          </a:insideH>
          <a:insideV>
            <a:ln w="12700" cap="flat">
              <a:solidFill>
                <a:srgbClr val="AAAAAA"/>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5"/>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5">
              <a:hueOff val="106375"/>
              <a:satOff val="9554"/>
              <a:lumOff val="-13516"/>
            </a:schemeClr>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0" cap="flat">
              <a:noFill/>
              <a:miter lim="400000"/>
            </a:ln>
          </a:bottom>
          <a:insideH>
            <a:ln w="12700" cap="flat">
              <a:noFill/>
              <a:miter lim="400000"/>
            </a:ln>
          </a:insideH>
          <a:insideV>
            <a:ln w="12700" cap="flat">
              <a:noFill/>
              <a:miter lim="400000"/>
            </a:ln>
          </a:insideV>
        </a:tcBdr>
        <a:fill>
          <a:solidFill>
            <a:schemeClr val="accent5">
              <a:hueOff val="106375"/>
              <a:satOff val="9554"/>
              <a:lumOff val="-13516"/>
            </a:schemeClr>
          </a:solidFill>
        </a:fill>
      </a:tcStyle>
    </a:firstRow>
  </a:tblStyle>
  <a:tblStyle styleId="{CF821DB8-F4EB-4A41-A1BA-3FCAFE7338EE}" styleName="">
    <a:tblBg/>
    <a:wholeTbl>
      <a:tcTxStyle b="off" i="off">
        <a:font>
          <a:latin typeface="Helvetica Neue"/>
          <a:ea typeface="Helvetica Neue"/>
          <a:cs typeface="Helvetica Neue"/>
        </a:font>
        <a:srgbClr val="FFFFFF"/>
      </a:tcTxStyle>
      <a:tcStyle>
        <a:tcBdr>
          <a:left>
            <a:ln w="12700" cap="flat">
              <a:solidFill>
                <a:srgbClr val="D6D7D6"/>
              </a:solidFill>
              <a:prstDash val="solid"/>
              <a:miter lim="400000"/>
            </a:ln>
          </a:left>
          <a:right>
            <a:ln w="12700" cap="flat">
              <a:solidFill>
                <a:srgbClr val="D6D7D6"/>
              </a:solidFill>
              <a:prstDash val="solid"/>
              <a:miter lim="400000"/>
            </a:ln>
          </a:right>
          <a:top>
            <a:ln w="12700" cap="flat">
              <a:solidFill>
                <a:srgbClr val="D6D7D6"/>
              </a:solidFill>
              <a:prstDash val="solid"/>
              <a:miter lim="400000"/>
            </a:ln>
          </a:top>
          <a:bottom>
            <a:ln w="12700" cap="flat">
              <a:solidFill>
                <a:srgbClr val="D6D7D6"/>
              </a:solidFill>
              <a:prstDash val="solid"/>
              <a:miter lim="400000"/>
            </a:ln>
          </a:bottom>
          <a:insideH>
            <a:ln w="12700" cap="flat">
              <a:solidFill>
                <a:srgbClr val="D6D7D6"/>
              </a:solidFill>
              <a:prstDash val="solid"/>
              <a:miter lim="400000"/>
            </a:ln>
          </a:insideH>
          <a:insideV>
            <a:ln w="12700"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6">
              <a:hueOff val="-119728"/>
              <a:satOff val="5580"/>
              <a:lumOff val="-12961"/>
            </a:schemeClr>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650E48"/>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650E48"/>
          </a:solidFill>
        </a:fill>
      </a:tcStyle>
    </a:firstRow>
  </a:tblStyle>
  <a:tblStyle styleId="{33BA23B1-9221-436E-865A-0063620EA4FD}" styleName="">
    <a:tblBg/>
    <a:wholeTbl>
      <a:tcTxStyle b="off" i="off">
        <a:font>
          <a:latin typeface="Helvetica Neue"/>
          <a:ea typeface="Helvetica Neue"/>
          <a:cs typeface="Helvetica Neue"/>
        </a:font>
        <a:srgbClr val="FFFFFF"/>
      </a:tcTxStyle>
      <a:tcStyle>
        <a:tcBdr>
          <a:left>
            <a:ln w="12700" cap="flat">
              <a:solidFill>
                <a:srgbClr val="909090"/>
              </a:solidFill>
              <a:prstDash val="solid"/>
              <a:miter lim="400000"/>
            </a:ln>
          </a:left>
          <a:right>
            <a:ln w="12700" cap="flat">
              <a:solidFill>
                <a:srgbClr val="909090"/>
              </a:solidFill>
              <a:prstDash val="solid"/>
              <a:miter lim="400000"/>
            </a:ln>
          </a:right>
          <a:top>
            <a:ln w="12700" cap="flat">
              <a:solidFill>
                <a:srgbClr val="909090"/>
              </a:solidFill>
              <a:prstDash val="solid"/>
              <a:miter lim="400000"/>
            </a:ln>
          </a:top>
          <a:bottom>
            <a:ln w="12700" cap="flat">
              <a:solidFill>
                <a:srgbClr val="909090"/>
              </a:solidFill>
              <a:prstDash val="solid"/>
              <a:miter lim="400000"/>
            </a:ln>
          </a:bottom>
          <a:insideH>
            <a:ln w="12700" cap="flat">
              <a:solidFill>
                <a:srgbClr val="909090"/>
              </a:solidFill>
              <a:prstDash val="solid"/>
              <a:miter lim="400000"/>
            </a:ln>
          </a:insideH>
          <a:insideV>
            <a:ln w="12700" cap="flat">
              <a:solidFill>
                <a:srgbClr val="909090"/>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798089"/>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96A0AC"/>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96A0AC"/>
          </a:solidFill>
        </a:fill>
      </a:tcStyle>
    </a:firstRow>
  </a:tblStyle>
  <a:tblStyle styleId="{2708684C-4D16-4618-839F-0558EEFCDFE6}" styleName="">
    <a:tblBg/>
    <a:wholeTbl>
      <a:tcTxStyle b="off" i="off">
        <a:font>
          <a:latin typeface="Helvetica Neue"/>
          <a:ea typeface="Helvetica Neue"/>
          <a:cs typeface="Helvetica Neue"/>
        </a:font>
        <a:srgbClr val="FFFFFF"/>
      </a:tcTxStyle>
      <a:tcStyle>
        <a:tcBdr>
          <a:left>
            <a:ln w="12700" cap="flat">
              <a:solidFill>
                <a:srgbClr val="929292"/>
              </a:solidFill>
              <a:custDash>
                <a:ds d="200000" sp="200000"/>
              </a:custDash>
              <a:miter lim="400000"/>
            </a:ln>
          </a:left>
          <a:right>
            <a:ln w="12700" cap="flat">
              <a:solidFill>
                <a:srgbClr val="929292"/>
              </a:solidFill>
              <a:custDash>
                <a:ds d="200000" sp="200000"/>
              </a:custDash>
              <a:miter lim="400000"/>
            </a:ln>
          </a:right>
          <a:top>
            <a:ln w="12700" cap="flat">
              <a:solidFill>
                <a:srgbClr val="929292"/>
              </a:solidFill>
              <a:custDash>
                <a:ds d="200000" sp="200000"/>
              </a:custDash>
              <a:miter lim="400000"/>
            </a:ln>
          </a:top>
          <a:bottom>
            <a:ln w="12700" cap="flat">
              <a:solidFill>
                <a:srgbClr val="929292"/>
              </a:solidFill>
              <a:custDash>
                <a:ds d="200000" sp="200000"/>
              </a:custDash>
              <a:miter lim="400000"/>
            </a:ln>
          </a:bottom>
          <a:insideH>
            <a:ln w="12700" cap="flat">
              <a:solidFill>
                <a:srgbClr val="929292"/>
              </a:solidFill>
              <a:custDash>
                <a:ds d="200000" sp="200000"/>
              </a:custDash>
              <a:miter lim="400000"/>
            </a:ln>
          </a:insideH>
          <a:insideV>
            <a:ln w="12700" cap="flat">
              <a:solidFill>
                <a:srgbClr val="929292"/>
              </a:solidFill>
              <a:custDash>
                <a:ds d="200000" sp="200000"/>
              </a:custDash>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25400" cap="flat">
              <a:solidFill>
                <a:srgbClr val="929292"/>
              </a:solidFill>
              <a:prstDash val="solid"/>
              <a:miter lim="400000"/>
            </a:ln>
          </a:right>
          <a:top>
            <a:ln w="25400" cap="flat">
              <a:solidFill>
                <a:srgbClr val="929292"/>
              </a:solidFill>
              <a:prstDash val="solid"/>
              <a:miter lim="400000"/>
            </a:ln>
          </a:top>
          <a:bottom>
            <a:ln w="25400" cap="flat">
              <a:solidFill>
                <a:srgbClr val="929292"/>
              </a:solidFill>
              <a:prstDash val="solid"/>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firstCol>
    <a:lastRow>
      <a:tcTxStyle b="off" i="off">
        <a:font>
          <a:latin typeface="Helvetica Neue"/>
          <a:ea typeface="Helvetica Neue"/>
          <a:cs typeface="Helvetica Neue"/>
        </a:font>
        <a:srgbClr val="FFFFFF"/>
      </a:tcTxStyle>
      <a:tcStyle>
        <a:tcBdr>
          <a:left>
            <a:ln w="25400" cap="flat">
              <a:solidFill>
                <a:srgbClr val="929292"/>
              </a:solidFill>
              <a:prstDash val="solid"/>
              <a:miter lim="400000"/>
            </a:ln>
          </a:left>
          <a:right>
            <a:ln w="25400" cap="flat">
              <a:solidFill>
                <a:srgbClr val="929292"/>
              </a:solidFill>
              <a:prstDash val="solid"/>
              <a:miter lim="400000"/>
            </a:ln>
          </a:right>
          <a:top>
            <a:ln w="25400" cap="flat">
              <a:solidFill>
                <a:srgbClr val="929292"/>
              </a:solidFill>
              <a:prstDash val="solid"/>
              <a:miter lim="400000"/>
            </a:ln>
          </a:top>
          <a:bottom>
            <a:ln w="12700" cap="flat">
              <a:noFill/>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lastRow>
    <a:firstRow>
      <a:tcTxStyle b="on" i="off">
        <a:font>
          <a:latin typeface="Helvetica Neue"/>
          <a:ea typeface="Helvetica Neue"/>
          <a:cs typeface="Helvetica Neue"/>
        </a:font>
        <a:srgbClr val="FFFFFF"/>
      </a:tcTxStyle>
      <a:tcStyle>
        <a:tcBdr>
          <a:left>
            <a:ln w="25400" cap="flat">
              <a:solidFill>
                <a:srgbClr val="929292"/>
              </a:solidFill>
              <a:prstDash val="solid"/>
              <a:miter lim="400000"/>
            </a:ln>
          </a:left>
          <a:right>
            <a:ln w="25400" cap="flat">
              <a:solidFill>
                <a:srgbClr val="929292"/>
              </a:solidFill>
              <a:prstDash val="solid"/>
              <a:miter lim="400000"/>
            </a:ln>
          </a:right>
          <a:top>
            <a:ln w="12700" cap="flat">
              <a:noFill/>
              <a:miter lim="400000"/>
            </a:ln>
          </a:top>
          <a:bottom>
            <a:ln w="25400" cap="flat">
              <a:solidFill>
                <a:srgbClr val="929292"/>
              </a:solidFill>
              <a:prstDash val="solid"/>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744" autoAdjust="0"/>
  </p:normalViewPr>
  <p:slideViewPr>
    <p:cSldViewPr snapToGrid="0">
      <p:cViewPr varScale="1">
        <p:scale>
          <a:sx n="46" d="100"/>
          <a:sy n="46" d="100"/>
        </p:scale>
        <p:origin x="1242" y="54"/>
      </p:cViewPr>
      <p:guideLst>
        <p:guide orient="horz" pos="3072"/>
        <p:guide pos="4096"/>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B7608B-BB58-4F40-A842-F5BFD1D943CC}"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GB"/>
        </a:p>
      </dgm:t>
    </dgm:pt>
    <dgm:pt modelId="{A402CD86-AC42-4A81-B40A-BBA57B1E13F8}">
      <dgm:prSet phldrT="[Text]" custT="1"/>
      <dgm:spPr/>
      <dgm:t>
        <a:bodyPr/>
        <a:lstStyle/>
        <a:p>
          <a:pPr algn="l">
            <a:buFont typeface="Wingdings" panose="05000000000000000000" pitchFamily="2" charset="2"/>
            <a:buChar char="ü"/>
          </a:pPr>
          <a:r>
            <a:rPr lang="fr-FR" sz="3600" dirty="0">
              <a:latin typeface="Source Sans Pro" panose="020B0503030403020204" pitchFamily="34" charset="0"/>
              <a:cs typeface="Arial" panose="020B0604020202020204" pitchFamily="34" charset="0"/>
            </a:rPr>
            <a:t>Développer une stratégie de communication du projet sur trois ans (2024-2026) </a:t>
          </a:r>
          <a:endParaRPr lang="en-GB" sz="3600" dirty="0"/>
        </a:p>
      </dgm:t>
    </dgm:pt>
    <dgm:pt modelId="{E56A0DAA-385A-4C8A-BE96-430C06A50A7B}" type="parTrans" cxnId="{A5F4B143-C138-49E5-A3AA-1B7FF7D20625}">
      <dgm:prSet/>
      <dgm:spPr/>
      <dgm:t>
        <a:bodyPr/>
        <a:lstStyle/>
        <a:p>
          <a:pPr algn="l"/>
          <a:endParaRPr lang="en-GB" sz="2000"/>
        </a:p>
      </dgm:t>
    </dgm:pt>
    <dgm:pt modelId="{89D934BF-EE00-4A24-A6B7-0E7374FA4576}" type="sibTrans" cxnId="{A5F4B143-C138-49E5-A3AA-1B7FF7D20625}">
      <dgm:prSet/>
      <dgm:spPr/>
      <dgm:t>
        <a:bodyPr/>
        <a:lstStyle/>
        <a:p>
          <a:pPr algn="l"/>
          <a:endParaRPr lang="en-GB" sz="2000"/>
        </a:p>
      </dgm:t>
    </dgm:pt>
    <dgm:pt modelId="{A6834840-D972-45BC-B02C-6A744B461E7A}">
      <dgm:prSet phldrT="[Text]" custT="1"/>
      <dgm:spPr/>
      <dgm:t>
        <a:bodyPr/>
        <a:lstStyle/>
        <a:p>
          <a:pPr algn="l"/>
          <a:r>
            <a:rPr lang="fr-FR" sz="2800" dirty="0">
              <a:latin typeface="Arial" panose="020B0604020202020204" pitchFamily="34" charset="0"/>
              <a:cs typeface="Arial" panose="020B0604020202020204" pitchFamily="34" charset="0"/>
            </a:rPr>
            <a:t>Contribuer à créer une </a:t>
          </a:r>
          <a:r>
            <a:rPr lang="fr-FR" sz="2800" dirty="0">
              <a:solidFill>
                <a:srgbClr val="FF0000"/>
              </a:solidFill>
              <a:latin typeface="Arial" panose="020B0604020202020204" pitchFamily="34" charset="0"/>
              <a:cs typeface="Arial" panose="020B0604020202020204" pitchFamily="34" charset="0"/>
            </a:rPr>
            <a:t>meilleure visibilité </a:t>
          </a:r>
          <a:r>
            <a:rPr lang="fr-FR" sz="2800" dirty="0">
              <a:latin typeface="Arial" panose="020B0604020202020204" pitchFamily="34" charset="0"/>
              <a:cs typeface="Arial" panose="020B0604020202020204" pitchFamily="34" charset="0"/>
            </a:rPr>
            <a:t>et à renforcer la </a:t>
          </a:r>
          <a:r>
            <a:rPr lang="fr-FR" sz="2800" dirty="0">
              <a:solidFill>
                <a:srgbClr val="FF0000"/>
              </a:solidFill>
              <a:latin typeface="Arial" panose="020B0604020202020204" pitchFamily="34" charset="0"/>
              <a:cs typeface="Arial" panose="020B0604020202020204" pitchFamily="34" charset="0"/>
            </a:rPr>
            <a:t>sensibilisation</a:t>
          </a:r>
          <a:r>
            <a:rPr lang="fr-FR" sz="2800" dirty="0">
              <a:latin typeface="Arial" panose="020B0604020202020204" pitchFamily="34" charset="0"/>
              <a:cs typeface="Arial" panose="020B0604020202020204" pitchFamily="34" charset="0"/>
            </a:rPr>
            <a:t> et </a:t>
          </a:r>
          <a:r>
            <a:rPr lang="fr-FR" sz="2800" dirty="0">
              <a:solidFill>
                <a:srgbClr val="FF0000"/>
              </a:solidFill>
              <a:latin typeface="Arial" panose="020B0604020202020204" pitchFamily="34" charset="0"/>
              <a:cs typeface="Arial" panose="020B0604020202020204" pitchFamily="34" charset="0"/>
            </a:rPr>
            <a:t>la connaissance du programme WURI</a:t>
          </a:r>
          <a:endParaRPr lang="en-GB" sz="2800" dirty="0"/>
        </a:p>
      </dgm:t>
    </dgm:pt>
    <dgm:pt modelId="{5EB2EC03-20DD-4CC9-AC16-1F1FF23AB0BD}" type="parTrans" cxnId="{AD193920-7380-4830-B149-E1D221424131}">
      <dgm:prSet/>
      <dgm:spPr/>
      <dgm:t>
        <a:bodyPr/>
        <a:lstStyle/>
        <a:p>
          <a:pPr algn="l"/>
          <a:endParaRPr lang="en-GB" sz="2000"/>
        </a:p>
      </dgm:t>
    </dgm:pt>
    <dgm:pt modelId="{73BAB561-FE47-4E3C-BE6A-97A66A21C88D}" type="sibTrans" cxnId="{AD193920-7380-4830-B149-E1D221424131}">
      <dgm:prSet/>
      <dgm:spPr/>
      <dgm:t>
        <a:bodyPr/>
        <a:lstStyle/>
        <a:p>
          <a:pPr algn="l"/>
          <a:endParaRPr lang="en-GB" sz="2000"/>
        </a:p>
      </dgm:t>
    </dgm:pt>
    <dgm:pt modelId="{03FD5751-3213-45C8-94E3-BB7CCCD45F09}">
      <dgm:prSet phldrT="[Text]" custT="1"/>
      <dgm:spPr/>
      <dgm:t>
        <a:bodyPr/>
        <a:lstStyle/>
        <a:p>
          <a:pPr algn="l"/>
          <a:r>
            <a:rPr lang="fr-FR" sz="2800" dirty="0">
              <a:solidFill>
                <a:srgbClr val="FF0000"/>
              </a:solidFill>
              <a:latin typeface="Arial" panose="020B0604020202020204" pitchFamily="34" charset="0"/>
              <a:cs typeface="Arial" panose="020B0604020202020204" pitchFamily="34" charset="0"/>
            </a:rPr>
            <a:t>Promouvoir la compréhension des parties prenantes </a:t>
          </a:r>
          <a:r>
            <a:rPr lang="fr-FR" sz="2800" dirty="0">
              <a:latin typeface="Arial" panose="020B0604020202020204" pitchFamily="34" charset="0"/>
              <a:cs typeface="Arial" panose="020B0604020202020204" pitchFamily="34" charset="0"/>
            </a:rPr>
            <a:t>concernées dans l'écosystème de l'identification de l'importance d'une approche progressive de l'utilisation des systèmes </a:t>
          </a:r>
          <a:r>
            <a:rPr lang="fr-FR" sz="2800" i="1" dirty="0" err="1">
              <a:latin typeface="Arial" panose="020B0604020202020204" pitchFamily="34" charset="0"/>
              <a:cs typeface="Arial" panose="020B0604020202020204" pitchFamily="34" charset="0"/>
            </a:rPr>
            <a:t>f</a:t>
          </a:r>
          <a:r>
            <a:rPr lang="fr-FR" sz="2800" dirty="0" err="1">
              <a:latin typeface="Arial" panose="020B0604020202020204" pitchFamily="34" charset="0"/>
              <a:cs typeface="Arial" panose="020B0604020202020204" pitchFamily="34" charset="0"/>
            </a:rPr>
            <a:t>ID</a:t>
          </a:r>
          <a:r>
            <a:rPr lang="fr-FR" sz="2800" i="1" dirty="0">
              <a:latin typeface="Arial" panose="020B0604020202020204" pitchFamily="34" charset="0"/>
              <a:cs typeface="Arial" panose="020B0604020202020204" pitchFamily="34" charset="0"/>
            </a:rPr>
            <a:t> </a:t>
          </a:r>
          <a:r>
            <a:rPr lang="fr-FR" sz="2800" dirty="0">
              <a:latin typeface="Arial" panose="020B0604020202020204" pitchFamily="34" charset="0"/>
              <a:cs typeface="Arial" panose="020B0604020202020204" pitchFamily="34" charset="0"/>
            </a:rPr>
            <a:t>pour mettre en œuvre la carte d'identité biométrique nationale de la CEDEAO</a:t>
          </a:r>
          <a:endParaRPr lang="en-GB" sz="2800" dirty="0"/>
        </a:p>
      </dgm:t>
    </dgm:pt>
    <dgm:pt modelId="{5A8E8087-1055-4893-8A20-2FF2921D3824}" type="parTrans" cxnId="{9F26E967-AA20-484D-B9F2-F2D2889B8157}">
      <dgm:prSet/>
      <dgm:spPr/>
      <dgm:t>
        <a:bodyPr/>
        <a:lstStyle/>
        <a:p>
          <a:pPr algn="l"/>
          <a:endParaRPr lang="en-GB" sz="2000"/>
        </a:p>
      </dgm:t>
    </dgm:pt>
    <dgm:pt modelId="{BF9305B9-252B-4F31-ADF2-212F693933B9}" type="sibTrans" cxnId="{9F26E967-AA20-484D-B9F2-F2D2889B8157}">
      <dgm:prSet/>
      <dgm:spPr/>
      <dgm:t>
        <a:bodyPr/>
        <a:lstStyle/>
        <a:p>
          <a:pPr algn="l"/>
          <a:endParaRPr lang="en-GB" sz="2000"/>
        </a:p>
      </dgm:t>
    </dgm:pt>
    <dgm:pt modelId="{59444B1B-F080-4550-B5E5-128A3B65CA41}" type="pres">
      <dgm:prSet presAssocID="{B0B7608B-BB58-4F40-A842-F5BFD1D943CC}" presName="diagram" presStyleCnt="0">
        <dgm:presLayoutVars>
          <dgm:chPref val="1"/>
          <dgm:dir/>
          <dgm:animOne val="branch"/>
          <dgm:animLvl val="lvl"/>
          <dgm:resizeHandles/>
        </dgm:presLayoutVars>
      </dgm:prSet>
      <dgm:spPr/>
    </dgm:pt>
    <dgm:pt modelId="{6893AD1C-D363-4FBD-8094-B65B18CAB6C5}" type="pres">
      <dgm:prSet presAssocID="{A402CD86-AC42-4A81-B40A-BBA57B1E13F8}" presName="root" presStyleCnt="0"/>
      <dgm:spPr/>
    </dgm:pt>
    <dgm:pt modelId="{9C7FAB9B-BFF0-47EE-AD1A-070E6743F24F}" type="pres">
      <dgm:prSet presAssocID="{A402CD86-AC42-4A81-B40A-BBA57B1E13F8}" presName="rootComposite" presStyleCnt="0"/>
      <dgm:spPr/>
    </dgm:pt>
    <dgm:pt modelId="{FF8B7002-CDE1-4CDE-837B-4EC5EB3603CF}" type="pres">
      <dgm:prSet presAssocID="{A402CD86-AC42-4A81-B40A-BBA57B1E13F8}" presName="rootText" presStyleLbl="node1" presStyleIdx="0" presStyleCnt="1" custScaleX="442080" custScaleY="145447"/>
      <dgm:spPr/>
    </dgm:pt>
    <dgm:pt modelId="{04F89380-5494-449F-B960-5E058C72CF44}" type="pres">
      <dgm:prSet presAssocID="{A402CD86-AC42-4A81-B40A-BBA57B1E13F8}" presName="rootConnector" presStyleLbl="node1" presStyleIdx="0" presStyleCnt="1"/>
      <dgm:spPr/>
    </dgm:pt>
    <dgm:pt modelId="{C6E942A4-7237-4CF7-AC3D-EF4D10601FA9}" type="pres">
      <dgm:prSet presAssocID="{A402CD86-AC42-4A81-B40A-BBA57B1E13F8}" presName="childShape" presStyleCnt="0"/>
      <dgm:spPr/>
    </dgm:pt>
    <dgm:pt modelId="{3D26343A-1B24-4D19-A36D-A3DE587BD4B2}" type="pres">
      <dgm:prSet presAssocID="{5EB2EC03-20DD-4CC9-AC16-1F1FF23AB0BD}" presName="Name13" presStyleLbl="parChTrans1D2" presStyleIdx="0" presStyleCnt="2"/>
      <dgm:spPr/>
    </dgm:pt>
    <dgm:pt modelId="{9F4A73F2-223E-4B67-8538-16610AB1C9BB}" type="pres">
      <dgm:prSet presAssocID="{A6834840-D972-45BC-B02C-6A744B461E7A}" presName="childText" presStyleLbl="bgAcc1" presStyleIdx="0" presStyleCnt="2" custScaleX="497121" custScaleY="118244">
        <dgm:presLayoutVars>
          <dgm:bulletEnabled val="1"/>
        </dgm:presLayoutVars>
      </dgm:prSet>
      <dgm:spPr/>
    </dgm:pt>
    <dgm:pt modelId="{79BF4675-9DE6-4320-91FD-058064CE4F39}" type="pres">
      <dgm:prSet presAssocID="{5A8E8087-1055-4893-8A20-2FF2921D3824}" presName="Name13" presStyleLbl="parChTrans1D2" presStyleIdx="1" presStyleCnt="2"/>
      <dgm:spPr/>
    </dgm:pt>
    <dgm:pt modelId="{5D752C38-8813-4036-B54E-EAB98C51A836}" type="pres">
      <dgm:prSet presAssocID="{03FD5751-3213-45C8-94E3-BB7CCCD45F09}" presName="childText" presStyleLbl="bgAcc1" presStyleIdx="1" presStyleCnt="2" custScaleX="502562" custScaleY="219844">
        <dgm:presLayoutVars>
          <dgm:bulletEnabled val="1"/>
        </dgm:presLayoutVars>
      </dgm:prSet>
      <dgm:spPr/>
    </dgm:pt>
  </dgm:ptLst>
  <dgm:cxnLst>
    <dgm:cxn modelId="{01909C15-1FC0-4F9D-8C95-88EE26FEE9C5}" type="presOf" srcId="{5A8E8087-1055-4893-8A20-2FF2921D3824}" destId="{79BF4675-9DE6-4320-91FD-058064CE4F39}" srcOrd="0" destOrd="0" presId="urn:microsoft.com/office/officeart/2005/8/layout/hierarchy3"/>
    <dgm:cxn modelId="{35007D1C-2069-491E-942F-8DAFEC92E42B}" type="presOf" srcId="{B0B7608B-BB58-4F40-A842-F5BFD1D943CC}" destId="{59444B1B-F080-4550-B5E5-128A3B65CA41}" srcOrd="0" destOrd="0" presId="urn:microsoft.com/office/officeart/2005/8/layout/hierarchy3"/>
    <dgm:cxn modelId="{AD193920-7380-4830-B149-E1D221424131}" srcId="{A402CD86-AC42-4A81-B40A-BBA57B1E13F8}" destId="{A6834840-D972-45BC-B02C-6A744B461E7A}" srcOrd="0" destOrd="0" parTransId="{5EB2EC03-20DD-4CC9-AC16-1F1FF23AB0BD}" sibTransId="{73BAB561-FE47-4E3C-BE6A-97A66A21C88D}"/>
    <dgm:cxn modelId="{CD006D36-5AF6-40DF-898A-F52CD3DA8F0B}" type="presOf" srcId="{A402CD86-AC42-4A81-B40A-BBA57B1E13F8}" destId="{04F89380-5494-449F-B960-5E058C72CF44}" srcOrd="1" destOrd="0" presId="urn:microsoft.com/office/officeart/2005/8/layout/hierarchy3"/>
    <dgm:cxn modelId="{A5F4B143-C138-49E5-A3AA-1B7FF7D20625}" srcId="{B0B7608B-BB58-4F40-A842-F5BFD1D943CC}" destId="{A402CD86-AC42-4A81-B40A-BBA57B1E13F8}" srcOrd="0" destOrd="0" parTransId="{E56A0DAA-385A-4C8A-BE96-430C06A50A7B}" sibTransId="{89D934BF-EE00-4A24-A6B7-0E7374FA4576}"/>
    <dgm:cxn modelId="{9F26E967-AA20-484D-B9F2-F2D2889B8157}" srcId="{A402CD86-AC42-4A81-B40A-BBA57B1E13F8}" destId="{03FD5751-3213-45C8-94E3-BB7CCCD45F09}" srcOrd="1" destOrd="0" parTransId="{5A8E8087-1055-4893-8A20-2FF2921D3824}" sibTransId="{BF9305B9-252B-4F31-ADF2-212F693933B9}"/>
    <dgm:cxn modelId="{93B8AC74-879F-434C-832B-518D6898759E}" type="presOf" srcId="{A402CD86-AC42-4A81-B40A-BBA57B1E13F8}" destId="{FF8B7002-CDE1-4CDE-837B-4EC5EB3603CF}" srcOrd="0" destOrd="0" presId="urn:microsoft.com/office/officeart/2005/8/layout/hierarchy3"/>
    <dgm:cxn modelId="{3736BB81-8E5D-4E20-8D03-C7C2A4A5E5FD}" type="presOf" srcId="{5EB2EC03-20DD-4CC9-AC16-1F1FF23AB0BD}" destId="{3D26343A-1B24-4D19-A36D-A3DE587BD4B2}" srcOrd="0" destOrd="0" presId="urn:microsoft.com/office/officeart/2005/8/layout/hierarchy3"/>
    <dgm:cxn modelId="{AAA30583-7248-4F4E-8CC8-C71FF0170C60}" type="presOf" srcId="{03FD5751-3213-45C8-94E3-BB7CCCD45F09}" destId="{5D752C38-8813-4036-B54E-EAB98C51A836}" srcOrd="0" destOrd="0" presId="urn:microsoft.com/office/officeart/2005/8/layout/hierarchy3"/>
    <dgm:cxn modelId="{D63F3FAB-1CD2-4A3C-8BB8-8ECFF5FA8E6F}" type="presOf" srcId="{A6834840-D972-45BC-B02C-6A744B461E7A}" destId="{9F4A73F2-223E-4B67-8538-16610AB1C9BB}" srcOrd="0" destOrd="0" presId="urn:microsoft.com/office/officeart/2005/8/layout/hierarchy3"/>
    <dgm:cxn modelId="{49EB346B-B03E-4E44-B02B-1B652659E4AE}" type="presParOf" srcId="{59444B1B-F080-4550-B5E5-128A3B65CA41}" destId="{6893AD1C-D363-4FBD-8094-B65B18CAB6C5}" srcOrd="0" destOrd="0" presId="urn:microsoft.com/office/officeart/2005/8/layout/hierarchy3"/>
    <dgm:cxn modelId="{5CC8F88F-7B99-48F5-97CB-79264D9F6E7A}" type="presParOf" srcId="{6893AD1C-D363-4FBD-8094-B65B18CAB6C5}" destId="{9C7FAB9B-BFF0-47EE-AD1A-070E6743F24F}" srcOrd="0" destOrd="0" presId="urn:microsoft.com/office/officeart/2005/8/layout/hierarchy3"/>
    <dgm:cxn modelId="{99724AF7-F867-4B08-AFB6-1BCC30542856}" type="presParOf" srcId="{9C7FAB9B-BFF0-47EE-AD1A-070E6743F24F}" destId="{FF8B7002-CDE1-4CDE-837B-4EC5EB3603CF}" srcOrd="0" destOrd="0" presId="urn:microsoft.com/office/officeart/2005/8/layout/hierarchy3"/>
    <dgm:cxn modelId="{0B62151E-F196-48FF-9FAD-C744C436A6BE}" type="presParOf" srcId="{9C7FAB9B-BFF0-47EE-AD1A-070E6743F24F}" destId="{04F89380-5494-449F-B960-5E058C72CF44}" srcOrd="1" destOrd="0" presId="urn:microsoft.com/office/officeart/2005/8/layout/hierarchy3"/>
    <dgm:cxn modelId="{D31287A4-8AB5-4013-99AF-C13B029B1BAB}" type="presParOf" srcId="{6893AD1C-D363-4FBD-8094-B65B18CAB6C5}" destId="{C6E942A4-7237-4CF7-AC3D-EF4D10601FA9}" srcOrd="1" destOrd="0" presId="urn:microsoft.com/office/officeart/2005/8/layout/hierarchy3"/>
    <dgm:cxn modelId="{D3CA7A46-FD74-42BD-8F84-09CF406C2CF0}" type="presParOf" srcId="{C6E942A4-7237-4CF7-AC3D-EF4D10601FA9}" destId="{3D26343A-1B24-4D19-A36D-A3DE587BD4B2}" srcOrd="0" destOrd="0" presId="urn:microsoft.com/office/officeart/2005/8/layout/hierarchy3"/>
    <dgm:cxn modelId="{2FC06B89-878C-4171-BFB7-88AFAEB67A28}" type="presParOf" srcId="{C6E942A4-7237-4CF7-AC3D-EF4D10601FA9}" destId="{9F4A73F2-223E-4B67-8538-16610AB1C9BB}" srcOrd="1" destOrd="0" presId="urn:microsoft.com/office/officeart/2005/8/layout/hierarchy3"/>
    <dgm:cxn modelId="{3FC7D8E3-7172-4226-9CED-74FB39D535E9}" type="presParOf" srcId="{C6E942A4-7237-4CF7-AC3D-EF4D10601FA9}" destId="{79BF4675-9DE6-4320-91FD-058064CE4F39}" srcOrd="2" destOrd="0" presId="urn:microsoft.com/office/officeart/2005/8/layout/hierarchy3"/>
    <dgm:cxn modelId="{DC4ABF5F-A2F1-4AA2-98E3-8DAAC2A478ED}" type="presParOf" srcId="{C6E942A4-7237-4CF7-AC3D-EF4D10601FA9}" destId="{5D752C38-8813-4036-B54E-EAB98C51A836}"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DD730D-C3B5-467B-949F-B0CF7295F282}"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A4353D3E-2638-4914-B494-45BEDC202EE3}">
      <dgm:prSet phldrT="[Text]"/>
      <dgm:spPr/>
      <dgm:t>
        <a:bodyPr/>
        <a:lstStyle/>
        <a:p>
          <a:r>
            <a:rPr lang="fr-FR" dirty="0">
              <a:latin typeface="Source Sans Pro" panose="020B0503030403020204" pitchFamily="34" charset="0"/>
              <a:cs typeface="Arial" panose="020B0604020202020204" pitchFamily="34" charset="0"/>
            </a:rPr>
            <a:t>La stratégie se concentrera sur les dialogues régionaux et la coopération pour la reconnaissance mutuelle transfrontalière des systèmes d'identification de base pour l'accès aux services</a:t>
          </a:r>
          <a:endParaRPr lang="en-GB" dirty="0"/>
        </a:p>
      </dgm:t>
    </dgm:pt>
    <dgm:pt modelId="{35AEB4C5-A163-44F8-AF5D-98A67FAE7F9F}" type="parTrans" cxnId="{3FAFCCA8-A651-4CAF-BE80-A67DA467AA2F}">
      <dgm:prSet/>
      <dgm:spPr/>
      <dgm:t>
        <a:bodyPr/>
        <a:lstStyle/>
        <a:p>
          <a:endParaRPr lang="en-GB"/>
        </a:p>
      </dgm:t>
    </dgm:pt>
    <dgm:pt modelId="{7FE3C3F9-BFDB-4C82-A0CA-5CA3B0B8F58C}" type="sibTrans" cxnId="{3FAFCCA8-A651-4CAF-BE80-A67DA467AA2F}">
      <dgm:prSet/>
      <dgm:spPr/>
      <dgm:t>
        <a:bodyPr/>
        <a:lstStyle/>
        <a:p>
          <a:endParaRPr lang="en-GB"/>
        </a:p>
      </dgm:t>
    </dgm:pt>
    <dgm:pt modelId="{71DCBE82-4D98-4DA2-96B8-7B0CFC94D6F6}">
      <dgm:prSet phldrT="[Text]"/>
      <dgm:spPr/>
      <dgm:t>
        <a:bodyPr/>
        <a:lstStyle/>
        <a:p>
          <a:pPr>
            <a:buNone/>
          </a:pPr>
          <a:r>
            <a:rPr lang="fr-FR" dirty="0">
              <a:latin typeface="Source Sans Pro" panose="020B0503030403020204" pitchFamily="34" charset="0"/>
              <a:cs typeface="Arial" panose="020B0604020202020204" pitchFamily="34" charset="0"/>
            </a:rPr>
            <a:t>Mandat de la Commission de la CEDEAO</a:t>
          </a:r>
          <a:endParaRPr lang="en-GB" dirty="0"/>
        </a:p>
      </dgm:t>
    </dgm:pt>
    <dgm:pt modelId="{C67C8A4E-EF94-445E-BCFD-00F74D17464B}" type="parTrans" cxnId="{AF7CC510-0C9B-4CD6-8BDC-D36155530E0C}">
      <dgm:prSet/>
      <dgm:spPr/>
      <dgm:t>
        <a:bodyPr/>
        <a:lstStyle/>
        <a:p>
          <a:endParaRPr lang="en-GB"/>
        </a:p>
      </dgm:t>
    </dgm:pt>
    <dgm:pt modelId="{51CDAA43-DD57-49B5-ABB7-8374A0B13B99}" type="sibTrans" cxnId="{AF7CC510-0C9B-4CD6-8BDC-D36155530E0C}">
      <dgm:prSet/>
      <dgm:spPr/>
      <dgm:t>
        <a:bodyPr/>
        <a:lstStyle/>
        <a:p>
          <a:endParaRPr lang="en-GB"/>
        </a:p>
      </dgm:t>
    </dgm:pt>
    <dgm:pt modelId="{1F1D6006-143A-482A-B4E7-5FAEBCD5DD08}" type="pres">
      <dgm:prSet presAssocID="{A5DD730D-C3B5-467B-949F-B0CF7295F282}" presName="linear" presStyleCnt="0">
        <dgm:presLayoutVars>
          <dgm:animLvl val="lvl"/>
          <dgm:resizeHandles val="exact"/>
        </dgm:presLayoutVars>
      </dgm:prSet>
      <dgm:spPr/>
    </dgm:pt>
    <dgm:pt modelId="{E9A8814B-FC2E-473B-8296-8DBCC1662536}" type="pres">
      <dgm:prSet presAssocID="{A4353D3E-2638-4914-B494-45BEDC202EE3}" presName="parentText" presStyleLbl="node1" presStyleIdx="0" presStyleCnt="1" custScaleY="115208">
        <dgm:presLayoutVars>
          <dgm:chMax val="0"/>
          <dgm:bulletEnabled val="1"/>
        </dgm:presLayoutVars>
      </dgm:prSet>
      <dgm:spPr/>
    </dgm:pt>
    <dgm:pt modelId="{9D1FCBB6-C67C-4B81-9CE2-FB02C53230C1}" type="pres">
      <dgm:prSet presAssocID="{A4353D3E-2638-4914-B494-45BEDC202EE3}" presName="childText" presStyleLbl="revTx" presStyleIdx="0" presStyleCnt="1">
        <dgm:presLayoutVars>
          <dgm:bulletEnabled val="1"/>
        </dgm:presLayoutVars>
      </dgm:prSet>
      <dgm:spPr/>
    </dgm:pt>
  </dgm:ptLst>
  <dgm:cxnLst>
    <dgm:cxn modelId="{AF7CC510-0C9B-4CD6-8BDC-D36155530E0C}" srcId="{A4353D3E-2638-4914-B494-45BEDC202EE3}" destId="{71DCBE82-4D98-4DA2-96B8-7B0CFC94D6F6}" srcOrd="0" destOrd="0" parTransId="{C67C8A4E-EF94-445E-BCFD-00F74D17464B}" sibTransId="{51CDAA43-DD57-49B5-ABB7-8374A0B13B99}"/>
    <dgm:cxn modelId="{8CC5161A-427A-46EE-987D-5D89F44E78AE}" type="presOf" srcId="{A4353D3E-2638-4914-B494-45BEDC202EE3}" destId="{E9A8814B-FC2E-473B-8296-8DBCC1662536}" srcOrd="0" destOrd="0" presId="urn:microsoft.com/office/officeart/2005/8/layout/vList2"/>
    <dgm:cxn modelId="{7AD16D5D-006D-4D8B-B03A-0691C2DF2E37}" type="presOf" srcId="{A5DD730D-C3B5-467B-949F-B0CF7295F282}" destId="{1F1D6006-143A-482A-B4E7-5FAEBCD5DD08}" srcOrd="0" destOrd="0" presId="urn:microsoft.com/office/officeart/2005/8/layout/vList2"/>
    <dgm:cxn modelId="{3FAFCCA8-A651-4CAF-BE80-A67DA467AA2F}" srcId="{A5DD730D-C3B5-467B-949F-B0CF7295F282}" destId="{A4353D3E-2638-4914-B494-45BEDC202EE3}" srcOrd="0" destOrd="0" parTransId="{35AEB4C5-A163-44F8-AF5D-98A67FAE7F9F}" sibTransId="{7FE3C3F9-BFDB-4C82-A0CA-5CA3B0B8F58C}"/>
    <dgm:cxn modelId="{1232F6D7-ABFB-4B88-85A5-2C5E3444FDF9}" type="presOf" srcId="{71DCBE82-4D98-4DA2-96B8-7B0CFC94D6F6}" destId="{9D1FCBB6-C67C-4B81-9CE2-FB02C53230C1}" srcOrd="0" destOrd="0" presId="urn:microsoft.com/office/officeart/2005/8/layout/vList2"/>
    <dgm:cxn modelId="{B92D9A82-6755-4056-A656-69E9D8C5AAD7}" type="presParOf" srcId="{1F1D6006-143A-482A-B4E7-5FAEBCD5DD08}" destId="{E9A8814B-FC2E-473B-8296-8DBCC1662536}" srcOrd="0" destOrd="0" presId="urn:microsoft.com/office/officeart/2005/8/layout/vList2"/>
    <dgm:cxn modelId="{7418366E-22D4-4A04-B09A-28CF872CA4DE}" type="presParOf" srcId="{1F1D6006-143A-482A-B4E7-5FAEBCD5DD08}" destId="{9D1FCBB6-C67C-4B81-9CE2-FB02C53230C1}"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B7608B-BB58-4F40-A842-F5BFD1D943CC}"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GB"/>
        </a:p>
      </dgm:t>
    </dgm:pt>
    <dgm:pt modelId="{A402CD86-AC42-4A81-B40A-BBA57B1E13F8}">
      <dgm:prSet phldrT="[Text]" custT="1"/>
      <dgm:spPr/>
      <dgm:t>
        <a:bodyPr/>
        <a:lstStyle/>
        <a:p>
          <a:pPr algn="l">
            <a:buFont typeface="Wingdings" panose="05000000000000000000" pitchFamily="2" charset="2"/>
            <a:buChar char="ü"/>
          </a:pPr>
          <a:r>
            <a:rPr lang="fr-FR" sz="4400" b="1" dirty="0">
              <a:latin typeface="Source Sans Pro" panose="020B0503030403020204" pitchFamily="34" charset="0"/>
              <a:cs typeface="Arial" panose="020B0604020202020204" pitchFamily="34" charset="0"/>
            </a:rPr>
            <a:t>15 États membres de la CEDEAO</a:t>
          </a:r>
          <a:endParaRPr lang="en-GB" sz="4400" b="1" dirty="0"/>
        </a:p>
      </dgm:t>
    </dgm:pt>
    <dgm:pt modelId="{E56A0DAA-385A-4C8A-BE96-430C06A50A7B}" type="parTrans" cxnId="{A5F4B143-C138-49E5-A3AA-1B7FF7D20625}">
      <dgm:prSet/>
      <dgm:spPr/>
      <dgm:t>
        <a:bodyPr/>
        <a:lstStyle/>
        <a:p>
          <a:pPr algn="l"/>
          <a:endParaRPr lang="en-GB" sz="2000"/>
        </a:p>
      </dgm:t>
    </dgm:pt>
    <dgm:pt modelId="{89D934BF-EE00-4A24-A6B7-0E7374FA4576}" type="sibTrans" cxnId="{A5F4B143-C138-49E5-A3AA-1B7FF7D20625}">
      <dgm:prSet/>
      <dgm:spPr/>
      <dgm:t>
        <a:bodyPr/>
        <a:lstStyle/>
        <a:p>
          <a:pPr algn="l"/>
          <a:endParaRPr lang="en-GB" sz="2000"/>
        </a:p>
      </dgm:t>
    </dgm:pt>
    <dgm:pt modelId="{A6834840-D972-45BC-B02C-6A744B461E7A}">
      <dgm:prSet phldrT="[Text]" custT="1"/>
      <dgm:spPr/>
      <dgm:t>
        <a:bodyPr/>
        <a:lstStyle/>
        <a:p>
          <a:pPr algn="l"/>
          <a:r>
            <a:rPr lang="fr-FR" sz="3600" dirty="0">
              <a:latin typeface="Source Sans Pro" panose="020B0503030403020204" pitchFamily="34" charset="0"/>
              <a:cs typeface="Arial" panose="020B0604020202020204" pitchFamily="34" charset="0"/>
            </a:rPr>
            <a:t>États membres WURI : </a:t>
          </a:r>
          <a:r>
            <a:rPr lang="fr-FR" sz="3600" b="1" dirty="0">
              <a:latin typeface="Source Sans Pro" panose="020B0503030403020204" pitchFamily="34" charset="0"/>
              <a:cs typeface="Arial" panose="020B0604020202020204" pitchFamily="34" charset="0"/>
            </a:rPr>
            <a:t>Bénin, Burkina Faso, Côte d'Ivoire, Guinée, Niger et Togo</a:t>
          </a:r>
          <a:endParaRPr lang="en-GB" sz="3600" dirty="0"/>
        </a:p>
      </dgm:t>
    </dgm:pt>
    <dgm:pt modelId="{5EB2EC03-20DD-4CC9-AC16-1F1FF23AB0BD}" type="parTrans" cxnId="{AD193920-7380-4830-B149-E1D221424131}">
      <dgm:prSet/>
      <dgm:spPr/>
      <dgm:t>
        <a:bodyPr/>
        <a:lstStyle/>
        <a:p>
          <a:pPr algn="l"/>
          <a:endParaRPr lang="en-GB" sz="2000"/>
        </a:p>
      </dgm:t>
    </dgm:pt>
    <dgm:pt modelId="{73BAB561-FE47-4E3C-BE6A-97A66A21C88D}" type="sibTrans" cxnId="{AD193920-7380-4830-B149-E1D221424131}">
      <dgm:prSet/>
      <dgm:spPr/>
      <dgm:t>
        <a:bodyPr/>
        <a:lstStyle/>
        <a:p>
          <a:pPr algn="l"/>
          <a:endParaRPr lang="en-GB" sz="2000"/>
        </a:p>
      </dgm:t>
    </dgm:pt>
    <dgm:pt modelId="{59444B1B-F080-4550-B5E5-128A3B65CA41}" type="pres">
      <dgm:prSet presAssocID="{B0B7608B-BB58-4F40-A842-F5BFD1D943CC}" presName="diagram" presStyleCnt="0">
        <dgm:presLayoutVars>
          <dgm:chPref val="1"/>
          <dgm:dir/>
          <dgm:animOne val="branch"/>
          <dgm:animLvl val="lvl"/>
          <dgm:resizeHandles/>
        </dgm:presLayoutVars>
      </dgm:prSet>
      <dgm:spPr/>
    </dgm:pt>
    <dgm:pt modelId="{6893AD1C-D363-4FBD-8094-B65B18CAB6C5}" type="pres">
      <dgm:prSet presAssocID="{A402CD86-AC42-4A81-B40A-BBA57B1E13F8}" presName="root" presStyleCnt="0"/>
      <dgm:spPr/>
    </dgm:pt>
    <dgm:pt modelId="{9C7FAB9B-BFF0-47EE-AD1A-070E6743F24F}" type="pres">
      <dgm:prSet presAssocID="{A402CD86-AC42-4A81-B40A-BBA57B1E13F8}" presName="rootComposite" presStyleCnt="0"/>
      <dgm:spPr/>
    </dgm:pt>
    <dgm:pt modelId="{FF8B7002-CDE1-4CDE-837B-4EC5EB3603CF}" type="pres">
      <dgm:prSet presAssocID="{A402CD86-AC42-4A81-B40A-BBA57B1E13F8}" presName="rootText" presStyleLbl="node1" presStyleIdx="0" presStyleCnt="1" custScaleX="442080" custScaleY="145447" custLinFactY="-21558" custLinFactNeighborX="1132" custLinFactNeighborY="-100000"/>
      <dgm:spPr/>
    </dgm:pt>
    <dgm:pt modelId="{04F89380-5494-449F-B960-5E058C72CF44}" type="pres">
      <dgm:prSet presAssocID="{A402CD86-AC42-4A81-B40A-BBA57B1E13F8}" presName="rootConnector" presStyleLbl="node1" presStyleIdx="0" presStyleCnt="1"/>
      <dgm:spPr/>
    </dgm:pt>
    <dgm:pt modelId="{C6E942A4-7237-4CF7-AC3D-EF4D10601FA9}" type="pres">
      <dgm:prSet presAssocID="{A402CD86-AC42-4A81-B40A-BBA57B1E13F8}" presName="childShape" presStyleCnt="0"/>
      <dgm:spPr/>
    </dgm:pt>
    <dgm:pt modelId="{3D26343A-1B24-4D19-A36D-A3DE587BD4B2}" type="pres">
      <dgm:prSet presAssocID="{5EB2EC03-20DD-4CC9-AC16-1F1FF23AB0BD}" presName="Name13" presStyleLbl="parChTrans1D2" presStyleIdx="0" presStyleCnt="1"/>
      <dgm:spPr/>
    </dgm:pt>
    <dgm:pt modelId="{9F4A73F2-223E-4B67-8538-16610AB1C9BB}" type="pres">
      <dgm:prSet presAssocID="{A6834840-D972-45BC-B02C-6A744B461E7A}" presName="childText" presStyleLbl="bgAcc1" presStyleIdx="0" presStyleCnt="1" custScaleX="497121" custScaleY="199370" custLinFactNeighborX="-7372" custLinFactNeighborY="-62908">
        <dgm:presLayoutVars>
          <dgm:bulletEnabled val="1"/>
        </dgm:presLayoutVars>
      </dgm:prSet>
      <dgm:spPr/>
    </dgm:pt>
  </dgm:ptLst>
  <dgm:cxnLst>
    <dgm:cxn modelId="{35007D1C-2069-491E-942F-8DAFEC92E42B}" type="presOf" srcId="{B0B7608B-BB58-4F40-A842-F5BFD1D943CC}" destId="{59444B1B-F080-4550-B5E5-128A3B65CA41}" srcOrd="0" destOrd="0" presId="urn:microsoft.com/office/officeart/2005/8/layout/hierarchy3"/>
    <dgm:cxn modelId="{AD193920-7380-4830-B149-E1D221424131}" srcId="{A402CD86-AC42-4A81-B40A-BBA57B1E13F8}" destId="{A6834840-D972-45BC-B02C-6A744B461E7A}" srcOrd="0" destOrd="0" parTransId="{5EB2EC03-20DD-4CC9-AC16-1F1FF23AB0BD}" sibTransId="{73BAB561-FE47-4E3C-BE6A-97A66A21C88D}"/>
    <dgm:cxn modelId="{CD006D36-5AF6-40DF-898A-F52CD3DA8F0B}" type="presOf" srcId="{A402CD86-AC42-4A81-B40A-BBA57B1E13F8}" destId="{04F89380-5494-449F-B960-5E058C72CF44}" srcOrd="1" destOrd="0" presId="urn:microsoft.com/office/officeart/2005/8/layout/hierarchy3"/>
    <dgm:cxn modelId="{A5F4B143-C138-49E5-A3AA-1B7FF7D20625}" srcId="{B0B7608B-BB58-4F40-A842-F5BFD1D943CC}" destId="{A402CD86-AC42-4A81-B40A-BBA57B1E13F8}" srcOrd="0" destOrd="0" parTransId="{E56A0DAA-385A-4C8A-BE96-430C06A50A7B}" sibTransId="{89D934BF-EE00-4A24-A6B7-0E7374FA4576}"/>
    <dgm:cxn modelId="{93B8AC74-879F-434C-832B-518D6898759E}" type="presOf" srcId="{A402CD86-AC42-4A81-B40A-BBA57B1E13F8}" destId="{FF8B7002-CDE1-4CDE-837B-4EC5EB3603CF}" srcOrd="0" destOrd="0" presId="urn:microsoft.com/office/officeart/2005/8/layout/hierarchy3"/>
    <dgm:cxn modelId="{3736BB81-8E5D-4E20-8D03-C7C2A4A5E5FD}" type="presOf" srcId="{5EB2EC03-20DD-4CC9-AC16-1F1FF23AB0BD}" destId="{3D26343A-1B24-4D19-A36D-A3DE587BD4B2}" srcOrd="0" destOrd="0" presId="urn:microsoft.com/office/officeart/2005/8/layout/hierarchy3"/>
    <dgm:cxn modelId="{D63F3FAB-1CD2-4A3C-8BB8-8ECFF5FA8E6F}" type="presOf" srcId="{A6834840-D972-45BC-B02C-6A744B461E7A}" destId="{9F4A73F2-223E-4B67-8538-16610AB1C9BB}" srcOrd="0" destOrd="0" presId="urn:microsoft.com/office/officeart/2005/8/layout/hierarchy3"/>
    <dgm:cxn modelId="{49EB346B-B03E-4E44-B02B-1B652659E4AE}" type="presParOf" srcId="{59444B1B-F080-4550-B5E5-128A3B65CA41}" destId="{6893AD1C-D363-4FBD-8094-B65B18CAB6C5}" srcOrd="0" destOrd="0" presId="urn:microsoft.com/office/officeart/2005/8/layout/hierarchy3"/>
    <dgm:cxn modelId="{5CC8F88F-7B99-48F5-97CB-79264D9F6E7A}" type="presParOf" srcId="{6893AD1C-D363-4FBD-8094-B65B18CAB6C5}" destId="{9C7FAB9B-BFF0-47EE-AD1A-070E6743F24F}" srcOrd="0" destOrd="0" presId="urn:microsoft.com/office/officeart/2005/8/layout/hierarchy3"/>
    <dgm:cxn modelId="{99724AF7-F867-4B08-AFB6-1BCC30542856}" type="presParOf" srcId="{9C7FAB9B-BFF0-47EE-AD1A-070E6743F24F}" destId="{FF8B7002-CDE1-4CDE-837B-4EC5EB3603CF}" srcOrd="0" destOrd="0" presId="urn:microsoft.com/office/officeart/2005/8/layout/hierarchy3"/>
    <dgm:cxn modelId="{0B62151E-F196-48FF-9FAD-C744C436A6BE}" type="presParOf" srcId="{9C7FAB9B-BFF0-47EE-AD1A-070E6743F24F}" destId="{04F89380-5494-449F-B960-5E058C72CF44}" srcOrd="1" destOrd="0" presId="urn:microsoft.com/office/officeart/2005/8/layout/hierarchy3"/>
    <dgm:cxn modelId="{D31287A4-8AB5-4013-99AF-C13B029B1BAB}" type="presParOf" srcId="{6893AD1C-D363-4FBD-8094-B65B18CAB6C5}" destId="{C6E942A4-7237-4CF7-AC3D-EF4D10601FA9}" srcOrd="1" destOrd="0" presId="urn:microsoft.com/office/officeart/2005/8/layout/hierarchy3"/>
    <dgm:cxn modelId="{D3CA7A46-FD74-42BD-8F84-09CF406C2CF0}" type="presParOf" srcId="{C6E942A4-7237-4CF7-AC3D-EF4D10601FA9}" destId="{3D26343A-1B24-4D19-A36D-A3DE587BD4B2}" srcOrd="0" destOrd="0" presId="urn:microsoft.com/office/officeart/2005/8/layout/hierarchy3"/>
    <dgm:cxn modelId="{2FC06B89-878C-4171-BFB7-88AFAEB67A28}" type="presParOf" srcId="{C6E942A4-7237-4CF7-AC3D-EF4D10601FA9}" destId="{9F4A73F2-223E-4B67-8538-16610AB1C9BB}"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181258-E1BC-4BAC-9AB8-283F51F3284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GB"/>
        </a:p>
      </dgm:t>
    </dgm:pt>
    <dgm:pt modelId="{0D7DECB3-15AC-4F67-9AB3-757A1079D4B0}">
      <dgm:prSet phldrT="[Text]" custT="1"/>
      <dgm:spPr/>
      <dgm:t>
        <a:bodyPr/>
        <a:lstStyle/>
        <a:p>
          <a:r>
            <a:rPr lang="fr-FR" sz="2800" dirty="0">
              <a:latin typeface="Source Sans Pro" panose="020B0503030403020204" pitchFamily="34" charset="0"/>
              <a:cs typeface="Arial" panose="020B0604020202020204" pitchFamily="34" charset="0"/>
            </a:rPr>
            <a:t>Parties prenantes et les acteurs étatiques et non étatiques opérant dans l'écosystème d'identification de base fonctionnelle, public et privé dans les six (6) pays</a:t>
          </a:r>
          <a:endParaRPr lang="en-GB" sz="2800" dirty="0">
            <a:latin typeface="Source Sans Pro" panose="020B0503030403020204" pitchFamily="34" charset="0"/>
          </a:endParaRPr>
        </a:p>
      </dgm:t>
    </dgm:pt>
    <dgm:pt modelId="{04EFB00C-7FCC-40CD-B04F-39416C7D1E81}" type="parTrans" cxnId="{42A0EA77-1B44-4B78-87A0-06F2D913F7C6}">
      <dgm:prSet/>
      <dgm:spPr/>
      <dgm:t>
        <a:bodyPr/>
        <a:lstStyle/>
        <a:p>
          <a:endParaRPr lang="en-GB" sz="2800">
            <a:latin typeface="Source Sans Pro" panose="020B0503030403020204" pitchFamily="34" charset="0"/>
          </a:endParaRPr>
        </a:p>
      </dgm:t>
    </dgm:pt>
    <dgm:pt modelId="{FA313D4B-8843-4520-BB19-A07D45638004}" type="sibTrans" cxnId="{42A0EA77-1B44-4B78-87A0-06F2D913F7C6}">
      <dgm:prSet/>
      <dgm:spPr/>
      <dgm:t>
        <a:bodyPr/>
        <a:lstStyle/>
        <a:p>
          <a:endParaRPr lang="en-GB" sz="2800">
            <a:latin typeface="Source Sans Pro" panose="020B0503030403020204" pitchFamily="34" charset="0"/>
          </a:endParaRPr>
        </a:p>
      </dgm:t>
    </dgm:pt>
    <dgm:pt modelId="{D296C1EE-3E5A-4AF9-BFB4-534061284107}">
      <dgm:prSet custT="1"/>
      <dgm:spPr/>
      <dgm:t>
        <a:bodyPr/>
        <a:lstStyle/>
        <a:p>
          <a:r>
            <a:rPr lang="fr-FR" sz="2800" dirty="0">
              <a:latin typeface="Source Sans Pro" panose="020B0503030403020204" pitchFamily="34" charset="0"/>
              <a:cs typeface="Arial" panose="020B0604020202020204" pitchFamily="34" charset="0"/>
            </a:rPr>
            <a:t>Bénéficiaires des projets qui sont les ressortissants résidents de chaque pays et ceux à l'étranger, y compris les non-nationaux vivant dans chaque pays </a:t>
          </a:r>
        </a:p>
      </dgm:t>
    </dgm:pt>
    <dgm:pt modelId="{2871932F-6214-488E-896F-A2D82F23053E}" type="parTrans" cxnId="{56E2547F-4FFC-46B4-8BC4-A2D9B37447BB}">
      <dgm:prSet/>
      <dgm:spPr/>
      <dgm:t>
        <a:bodyPr/>
        <a:lstStyle/>
        <a:p>
          <a:endParaRPr lang="en-GB" sz="2800">
            <a:latin typeface="Source Sans Pro" panose="020B0503030403020204" pitchFamily="34" charset="0"/>
          </a:endParaRPr>
        </a:p>
      </dgm:t>
    </dgm:pt>
    <dgm:pt modelId="{AE1EDE84-69D4-4D39-B081-02FF0A68A2E7}" type="sibTrans" cxnId="{56E2547F-4FFC-46B4-8BC4-A2D9B37447BB}">
      <dgm:prSet/>
      <dgm:spPr/>
      <dgm:t>
        <a:bodyPr/>
        <a:lstStyle/>
        <a:p>
          <a:endParaRPr lang="en-GB" sz="2800">
            <a:latin typeface="Source Sans Pro" panose="020B0503030403020204" pitchFamily="34" charset="0"/>
          </a:endParaRPr>
        </a:p>
      </dgm:t>
    </dgm:pt>
    <dgm:pt modelId="{2F10805E-D275-45A8-BE17-F9DD51019F13}">
      <dgm:prSet custT="1"/>
      <dgm:spPr/>
      <dgm:t>
        <a:bodyPr/>
        <a:lstStyle/>
        <a:p>
          <a:r>
            <a:rPr lang="fr-FR" sz="2800" dirty="0">
              <a:latin typeface="Source Sans Pro" panose="020B0503030403020204" pitchFamily="34" charset="0"/>
              <a:cs typeface="Arial" panose="020B0604020202020204" pitchFamily="34" charset="0"/>
            </a:rPr>
            <a:t>Autres parties prenantes sous régionales et continentales telles que l'Union économique et monétaire ouest-africaine et l'Union Africaine, respectivement</a:t>
          </a:r>
          <a:r>
            <a:rPr lang="fr-FR" sz="2800" b="1" dirty="0">
              <a:latin typeface="Source Sans Pro" panose="020B0503030403020204" pitchFamily="34" charset="0"/>
              <a:cs typeface="Arial" panose="020B0604020202020204" pitchFamily="34" charset="0"/>
            </a:rPr>
            <a:t> </a:t>
          </a:r>
        </a:p>
      </dgm:t>
    </dgm:pt>
    <dgm:pt modelId="{9565BE53-6B5C-45F7-9009-8793306F698F}" type="parTrans" cxnId="{9F9B79EB-B299-4B1D-B0CF-E33AD445803C}">
      <dgm:prSet/>
      <dgm:spPr/>
      <dgm:t>
        <a:bodyPr/>
        <a:lstStyle/>
        <a:p>
          <a:endParaRPr lang="en-GB" sz="2800">
            <a:latin typeface="Source Sans Pro" panose="020B0503030403020204" pitchFamily="34" charset="0"/>
          </a:endParaRPr>
        </a:p>
      </dgm:t>
    </dgm:pt>
    <dgm:pt modelId="{EC5BBA70-52AE-4D84-8F01-821B853F5B68}" type="sibTrans" cxnId="{9F9B79EB-B299-4B1D-B0CF-E33AD445803C}">
      <dgm:prSet/>
      <dgm:spPr/>
      <dgm:t>
        <a:bodyPr/>
        <a:lstStyle/>
        <a:p>
          <a:endParaRPr lang="en-GB" sz="2800">
            <a:latin typeface="Source Sans Pro" panose="020B0503030403020204" pitchFamily="34" charset="0"/>
          </a:endParaRPr>
        </a:p>
      </dgm:t>
    </dgm:pt>
    <dgm:pt modelId="{8AAA3C06-BE42-4A92-8632-EC8491E605BB}" type="pres">
      <dgm:prSet presAssocID="{CD181258-E1BC-4BAC-9AB8-283F51F3284F}" presName="linear" presStyleCnt="0">
        <dgm:presLayoutVars>
          <dgm:dir/>
          <dgm:animLvl val="lvl"/>
          <dgm:resizeHandles val="exact"/>
        </dgm:presLayoutVars>
      </dgm:prSet>
      <dgm:spPr/>
    </dgm:pt>
    <dgm:pt modelId="{AE33E608-76D1-4BAC-B667-4E33D34DDFFD}" type="pres">
      <dgm:prSet presAssocID="{0D7DECB3-15AC-4F67-9AB3-757A1079D4B0}" presName="parentLin" presStyleCnt="0"/>
      <dgm:spPr/>
    </dgm:pt>
    <dgm:pt modelId="{E18B1C4E-7427-4079-8B4B-77DA00629DB0}" type="pres">
      <dgm:prSet presAssocID="{0D7DECB3-15AC-4F67-9AB3-757A1079D4B0}" presName="parentLeftMargin" presStyleLbl="node1" presStyleIdx="0" presStyleCnt="3"/>
      <dgm:spPr/>
    </dgm:pt>
    <dgm:pt modelId="{CE4B96D9-EFF7-404D-9482-0DD697680AA8}" type="pres">
      <dgm:prSet presAssocID="{0D7DECB3-15AC-4F67-9AB3-757A1079D4B0}" presName="parentText" presStyleLbl="node1" presStyleIdx="0" presStyleCnt="3" custScaleX="124715">
        <dgm:presLayoutVars>
          <dgm:chMax val="0"/>
          <dgm:bulletEnabled val="1"/>
        </dgm:presLayoutVars>
      </dgm:prSet>
      <dgm:spPr/>
    </dgm:pt>
    <dgm:pt modelId="{BCC69ABE-697F-4DD7-8A38-80D2EE3708C7}" type="pres">
      <dgm:prSet presAssocID="{0D7DECB3-15AC-4F67-9AB3-757A1079D4B0}" presName="negativeSpace" presStyleCnt="0"/>
      <dgm:spPr/>
    </dgm:pt>
    <dgm:pt modelId="{414F8987-0D21-44E1-8A6D-132236D00D7A}" type="pres">
      <dgm:prSet presAssocID="{0D7DECB3-15AC-4F67-9AB3-757A1079D4B0}" presName="childText" presStyleLbl="conFgAcc1" presStyleIdx="0" presStyleCnt="3">
        <dgm:presLayoutVars>
          <dgm:bulletEnabled val="1"/>
        </dgm:presLayoutVars>
      </dgm:prSet>
      <dgm:spPr/>
    </dgm:pt>
    <dgm:pt modelId="{C8A21F3E-AFC5-41E3-8AFA-D882A84F309C}" type="pres">
      <dgm:prSet presAssocID="{FA313D4B-8843-4520-BB19-A07D45638004}" presName="spaceBetweenRectangles" presStyleCnt="0"/>
      <dgm:spPr/>
    </dgm:pt>
    <dgm:pt modelId="{F1237EFB-3D34-4876-AA8B-CE1FC83CEF09}" type="pres">
      <dgm:prSet presAssocID="{D296C1EE-3E5A-4AF9-BFB4-534061284107}" presName="parentLin" presStyleCnt="0"/>
      <dgm:spPr/>
    </dgm:pt>
    <dgm:pt modelId="{75A4C3A4-8EAE-40CD-B698-510C6ABD4DCA}" type="pres">
      <dgm:prSet presAssocID="{D296C1EE-3E5A-4AF9-BFB4-534061284107}" presName="parentLeftMargin" presStyleLbl="node1" presStyleIdx="0" presStyleCnt="3"/>
      <dgm:spPr/>
    </dgm:pt>
    <dgm:pt modelId="{D3F78437-79FD-4DF0-875B-E2DC6EF6E1B0}" type="pres">
      <dgm:prSet presAssocID="{D296C1EE-3E5A-4AF9-BFB4-534061284107}" presName="parentText" presStyleLbl="node1" presStyleIdx="1" presStyleCnt="3" custScaleX="126887">
        <dgm:presLayoutVars>
          <dgm:chMax val="0"/>
          <dgm:bulletEnabled val="1"/>
        </dgm:presLayoutVars>
      </dgm:prSet>
      <dgm:spPr/>
    </dgm:pt>
    <dgm:pt modelId="{D0B08D8B-8AF1-48C4-A81E-BD8525BEB93A}" type="pres">
      <dgm:prSet presAssocID="{D296C1EE-3E5A-4AF9-BFB4-534061284107}" presName="negativeSpace" presStyleCnt="0"/>
      <dgm:spPr/>
    </dgm:pt>
    <dgm:pt modelId="{6295785C-E200-40EE-B131-46BE1A2F13DA}" type="pres">
      <dgm:prSet presAssocID="{D296C1EE-3E5A-4AF9-BFB4-534061284107}" presName="childText" presStyleLbl="conFgAcc1" presStyleIdx="1" presStyleCnt="3">
        <dgm:presLayoutVars>
          <dgm:bulletEnabled val="1"/>
        </dgm:presLayoutVars>
      </dgm:prSet>
      <dgm:spPr/>
    </dgm:pt>
    <dgm:pt modelId="{771BFAF8-908C-427E-980F-65D9AE0FAF08}" type="pres">
      <dgm:prSet presAssocID="{AE1EDE84-69D4-4D39-B081-02FF0A68A2E7}" presName="spaceBetweenRectangles" presStyleCnt="0"/>
      <dgm:spPr/>
    </dgm:pt>
    <dgm:pt modelId="{8AE37981-5EB6-4561-BA17-57D326369B62}" type="pres">
      <dgm:prSet presAssocID="{2F10805E-D275-45A8-BE17-F9DD51019F13}" presName="parentLin" presStyleCnt="0"/>
      <dgm:spPr/>
    </dgm:pt>
    <dgm:pt modelId="{6FC12367-48EA-4EE7-9110-7311B78481A2}" type="pres">
      <dgm:prSet presAssocID="{2F10805E-D275-45A8-BE17-F9DD51019F13}" presName="parentLeftMargin" presStyleLbl="node1" presStyleIdx="1" presStyleCnt="3"/>
      <dgm:spPr/>
    </dgm:pt>
    <dgm:pt modelId="{BE25B2DA-20EF-430F-A665-7DCE6A1C310F}" type="pres">
      <dgm:prSet presAssocID="{2F10805E-D275-45A8-BE17-F9DD51019F13}" presName="parentText" presStyleLbl="node1" presStyleIdx="2" presStyleCnt="3" custScaleX="129604">
        <dgm:presLayoutVars>
          <dgm:chMax val="0"/>
          <dgm:bulletEnabled val="1"/>
        </dgm:presLayoutVars>
      </dgm:prSet>
      <dgm:spPr/>
    </dgm:pt>
    <dgm:pt modelId="{31719AA8-9AF7-415C-B70C-0D4121D9FFA8}" type="pres">
      <dgm:prSet presAssocID="{2F10805E-D275-45A8-BE17-F9DD51019F13}" presName="negativeSpace" presStyleCnt="0"/>
      <dgm:spPr/>
    </dgm:pt>
    <dgm:pt modelId="{B7BDB0B6-96AB-45CD-B25E-AA1ED864B56B}" type="pres">
      <dgm:prSet presAssocID="{2F10805E-D275-45A8-BE17-F9DD51019F13}" presName="childText" presStyleLbl="conFgAcc1" presStyleIdx="2" presStyleCnt="3">
        <dgm:presLayoutVars>
          <dgm:bulletEnabled val="1"/>
        </dgm:presLayoutVars>
      </dgm:prSet>
      <dgm:spPr/>
    </dgm:pt>
  </dgm:ptLst>
  <dgm:cxnLst>
    <dgm:cxn modelId="{1145510C-53A7-4BB9-A3D9-B9A00A1D4620}" type="presOf" srcId="{0D7DECB3-15AC-4F67-9AB3-757A1079D4B0}" destId="{E18B1C4E-7427-4079-8B4B-77DA00629DB0}" srcOrd="0" destOrd="0" presId="urn:microsoft.com/office/officeart/2005/8/layout/list1"/>
    <dgm:cxn modelId="{570C2039-CD34-45B2-B200-683EFFA47018}" type="presOf" srcId="{CD181258-E1BC-4BAC-9AB8-283F51F3284F}" destId="{8AAA3C06-BE42-4A92-8632-EC8491E605BB}" srcOrd="0" destOrd="0" presId="urn:microsoft.com/office/officeart/2005/8/layout/list1"/>
    <dgm:cxn modelId="{C505576E-1813-44B9-8568-DEC06BD8FC68}" type="presOf" srcId="{2F10805E-D275-45A8-BE17-F9DD51019F13}" destId="{6FC12367-48EA-4EE7-9110-7311B78481A2}" srcOrd="0" destOrd="0" presId="urn:microsoft.com/office/officeart/2005/8/layout/list1"/>
    <dgm:cxn modelId="{08DB6C54-E17F-49E8-AC15-23AA046B1B6B}" type="presOf" srcId="{D296C1EE-3E5A-4AF9-BFB4-534061284107}" destId="{75A4C3A4-8EAE-40CD-B698-510C6ABD4DCA}" srcOrd="0" destOrd="0" presId="urn:microsoft.com/office/officeart/2005/8/layout/list1"/>
    <dgm:cxn modelId="{42A0EA77-1B44-4B78-87A0-06F2D913F7C6}" srcId="{CD181258-E1BC-4BAC-9AB8-283F51F3284F}" destId="{0D7DECB3-15AC-4F67-9AB3-757A1079D4B0}" srcOrd="0" destOrd="0" parTransId="{04EFB00C-7FCC-40CD-B04F-39416C7D1E81}" sibTransId="{FA313D4B-8843-4520-BB19-A07D45638004}"/>
    <dgm:cxn modelId="{56E2547F-4FFC-46B4-8BC4-A2D9B37447BB}" srcId="{CD181258-E1BC-4BAC-9AB8-283F51F3284F}" destId="{D296C1EE-3E5A-4AF9-BFB4-534061284107}" srcOrd="1" destOrd="0" parTransId="{2871932F-6214-488E-896F-A2D82F23053E}" sibTransId="{AE1EDE84-69D4-4D39-B081-02FF0A68A2E7}"/>
    <dgm:cxn modelId="{24FD0080-E177-4E9C-9757-A16BA6EDACD2}" type="presOf" srcId="{0D7DECB3-15AC-4F67-9AB3-757A1079D4B0}" destId="{CE4B96D9-EFF7-404D-9482-0DD697680AA8}" srcOrd="1" destOrd="0" presId="urn:microsoft.com/office/officeart/2005/8/layout/list1"/>
    <dgm:cxn modelId="{9F9B79EB-B299-4B1D-B0CF-E33AD445803C}" srcId="{CD181258-E1BC-4BAC-9AB8-283F51F3284F}" destId="{2F10805E-D275-45A8-BE17-F9DD51019F13}" srcOrd="2" destOrd="0" parTransId="{9565BE53-6B5C-45F7-9009-8793306F698F}" sibTransId="{EC5BBA70-52AE-4D84-8F01-821B853F5B68}"/>
    <dgm:cxn modelId="{9C27AAF7-25AC-4B2C-A34E-B6D82AF3D438}" type="presOf" srcId="{D296C1EE-3E5A-4AF9-BFB4-534061284107}" destId="{D3F78437-79FD-4DF0-875B-E2DC6EF6E1B0}" srcOrd="1" destOrd="0" presId="urn:microsoft.com/office/officeart/2005/8/layout/list1"/>
    <dgm:cxn modelId="{32AB0FFD-AB62-40AC-9BA9-D4625EE1CDB5}" type="presOf" srcId="{2F10805E-D275-45A8-BE17-F9DD51019F13}" destId="{BE25B2DA-20EF-430F-A665-7DCE6A1C310F}" srcOrd="1" destOrd="0" presId="urn:microsoft.com/office/officeart/2005/8/layout/list1"/>
    <dgm:cxn modelId="{F061FF3F-9115-447C-A4B7-84FB64F35F26}" type="presParOf" srcId="{8AAA3C06-BE42-4A92-8632-EC8491E605BB}" destId="{AE33E608-76D1-4BAC-B667-4E33D34DDFFD}" srcOrd="0" destOrd="0" presId="urn:microsoft.com/office/officeart/2005/8/layout/list1"/>
    <dgm:cxn modelId="{3CD70E1A-817E-4897-B665-97BB9AE27D75}" type="presParOf" srcId="{AE33E608-76D1-4BAC-B667-4E33D34DDFFD}" destId="{E18B1C4E-7427-4079-8B4B-77DA00629DB0}" srcOrd="0" destOrd="0" presId="urn:microsoft.com/office/officeart/2005/8/layout/list1"/>
    <dgm:cxn modelId="{0E7ABDE5-C2BB-46F9-96C0-0E1E95B53F19}" type="presParOf" srcId="{AE33E608-76D1-4BAC-B667-4E33D34DDFFD}" destId="{CE4B96D9-EFF7-404D-9482-0DD697680AA8}" srcOrd="1" destOrd="0" presId="urn:microsoft.com/office/officeart/2005/8/layout/list1"/>
    <dgm:cxn modelId="{6563F486-E427-4783-B829-466719CD2C0E}" type="presParOf" srcId="{8AAA3C06-BE42-4A92-8632-EC8491E605BB}" destId="{BCC69ABE-697F-4DD7-8A38-80D2EE3708C7}" srcOrd="1" destOrd="0" presId="urn:microsoft.com/office/officeart/2005/8/layout/list1"/>
    <dgm:cxn modelId="{3F213320-4078-4D9F-AB21-9B01E285CD25}" type="presParOf" srcId="{8AAA3C06-BE42-4A92-8632-EC8491E605BB}" destId="{414F8987-0D21-44E1-8A6D-132236D00D7A}" srcOrd="2" destOrd="0" presId="urn:microsoft.com/office/officeart/2005/8/layout/list1"/>
    <dgm:cxn modelId="{00B11A39-CEFF-4758-8B0C-44B21879E4CE}" type="presParOf" srcId="{8AAA3C06-BE42-4A92-8632-EC8491E605BB}" destId="{C8A21F3E-AFC5-41E3-8AFA-D882A84F309C}" srcOrd="3" destOrd="0" presId="urn:microsoft.com/office/officeart/2005/8/layout/list1"/>
    <dgm:cxn modelId="{232BB372-5E4C-47D6-BA8C-D5F92A739842}" type="presParOf" srcId="{8AAA3C06-BE42-4A92-8632-EC8491E605BB}" destId="{F1237EFB-3D34-4876-AA8B-CE1FC83CEF09}" srcOrd="4" destOrd="0" presId="urn:microsoft.com/office/officeart/2005/8/layout/list1"/>
    <dgm:cxn modelId="{02BB525A-CD3B-4136-B324-0E0D15132148}" type="presParOf" srcId="{F1237EFB-3D34-4876-AA8B-CE1FC83CEF09}" destId="{75A4C3A4-8EAE-40CD-B698-510C6ABD4DCA}" srcOrd="0" destOrd="0" presId="urn:microsoft.com/office/officeart/2005/8/layout/list1"/>
    <dgm:cxn modelId="{198CB710-DB4B-4854-8AE9-B80E87C219CB}" type="presParOf" srcId="{F1237EFB-3D34-4876-AA8B-CE1FC83CEF09}" destId="{D3F78437-79FD-4DF0-875B-E2DC6EF6E1B0}" srcOrd="1" destOrd="0" presId="urn:microsoft.com/office/officeart/2005/8/layout/list1"/>
    <dgm:cxn modelId="{AB2F3247-5FC5-4ACF-8DAD-9F1E5029889B}" type="presParOf" srcId="{8AAA3C06-BE42-4A92-8632-EC8491E605BB}" destId="{D0B08D8B-8AF1-48C4-A81E-BD8525BEB93A}" srcOrd="5" destOrd="0" presId="urn:microsoft.com/office/officeart/2005/8/layout/list1"/>
    <dgm:cxn modelId="{1E57DA60-DAE6-49D5-8FD7-E72CF1D20597}" type="presParOf" srcId="{8AAA3C06-BE42-4A92-8632-EC8491E605BB}" destId="{6295785C-E200-40EE-B131-46BE1A2F13DA}" srcOrd="6" destOrd="0" presId="urn:microsoft.com/office/officeart/2005/8/layout/list1"/>
    <dgm:cxn modelId="{3714CB38-1633-4276-9303-52A93EEE76DF}" type="presParOf" srcId="{8AAA3C06-BE42-4A92-8632-EC8491E605BB}" destId="{771BFAF8-908C-427E-980F-65D9AE0FAF08}" srcOrd="7" destOrd="0" presId="urn:microsoft.com/office/officeart/2005/8/layout/list1"/>
    <dgm:cxn modelId="{FF2AD08E-5F2F-465A-BA12-CA12173DAE13}" type="presParOf" srcId="{8AAA3C06-BE42-4A92-8632-EC8491E605BB}" destId="{8AE37981-5EB6-4561-BA17-57D326369B62}" srcOrd="8" destOrd="0" presId="urn:microsoft.com/office/officeart/2005/8/layout/list1"/>
    <dgm:cxn modelId="{CDE6FEDB-4D47-488D-A725-04E8D43A903B}" type="presParOf" srcId="{8AE37981-5EB6-4561-BA17-57D326369B62}" destId="{6FC12367-48EA-4EE7-9110-7311B78481A2}" srcOrd="0" destOrd="0" presId="urn:microsoft.com/office/officeart/2005/8/layout/list1"/>
    <dgm:cxn modelId="{487D10A1-2A99-4BCF-9684-15D334D8589A}" type="presParOf" srcId="{8AE37981-5EB6-4561-BA17-57D326369B62}" destId="{BE25B2DA-20EF-430F-A665-7DCE6A1C310F}" srcOrd="1" destOrd="0" presId="urn:microsoft.com/office/officeart/2005/8/layout/list1"/>
    <dgm:cxn modelId="{CF5D043F-7E21-427B-AE8B-B75E471403FB}" type="presParOf" srcId="{8AAA3C06-BE42-4A92-8632-EC8491E605BB}" destId="{31719AA8-9AF7-415C-B70C-0D4121D9FFA8}" srcOrd="9" destOrd="0" presId="urn:microsoft.com/office/officeart/2005/8/layout/list1"/>
    <dgm:cxn modelId="{D5694EA1-4900-4DE2-82EB-283C49B5F8D9}" type="presParOf" srcId="{8AAA3C06-BE42-4A92-8632-EC8491E605BB}" destId="{B7BDB0B6-96AB-45CD-B25E-AA1ED864B56B}"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94E421E-F55A-45C7-85A5-C50D208A6761}"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GB"/>
        </a:p>
      </dgm:t>
    </dgm:pt>
    <dgm:pt modelId="{0107521B-92B1-4643-84D7-15F53796E5D6}">
      <dgm:prSet phldrT="[Text]" custT="1"/>
      <dgm:spPr/>
      <dgm:t>
        <a:bodyPr/>
        <a:lstStyle/>
        <a:p>
          <a:r>
            <a:rPr lang="fr-FR" sz="2800" b="1" dirty="0">
              <a:latin typeface="Source Sans Pro" panose="020B0503030403020204" pitchFamily="34" charset="0"/>
              <a:cs typeface="Arial" panose="020B0604020202020204" pitchFamily="34" charset="0"/>
            </a:rPr>
            <a:t>Phase 1 : Préparation de la mission</a:t>
          </a:r>
          <a:endParaRPr lang="en-GB" sz="2800" dirty="0">
            <a:latin typeface="Source Sans Pro" panose="020B0503030403020204" pitchFamily="34" charset="0"/>
          </a:endParaRPr>
        </a:p>
      </dgm:t>
    </dgm:pt>
    <dgm:pt modelId="{62F9AC28-5910-42C8-9C73-D491E65F5652}" type="parTrans" cxnId="{D82B11B2-793B-44D9-B0BE-50F3066CEC92}">
      <dgm:prSet/>
      <dgm:spPr/>
      <dgm:t>
        <a:bodyPr/>
        <a:lstStyle/>
        <a:p>
          <a:endParaRPr lang="en-GB" sz="2800">
            <a:latin typeface="Source Sans Pro" panose="020B0503030403020204" pitchFamily="34" charset="0"/>
          </a:endParaRPr>
        </a:p>
      </dgm:t>
    </dgm:pt>
    <dgm:pt modelId="{C3110A25-86F3-4329-B7CB-74B82F0CCD4A}" type="sibTrans" cxnId="{D82B11B2-793B-44D9-B0BE-50F3066CEC92}">
      <dgm:prSet/>
      <dgm:spPr/>
      <dgm:t>
        <a:bodyPr/>
        <a:lstStyle/>
        <a:p>
          <a:endParaRPr lang="en-GB" sz="2800">
            <a:latin typeface="Source Sans Pro" panose="020B0503030403020204" pitchFamily="34" charset="0"/>
          </a:endParaRPr>
        </a:p>
      </dgm:t>
    </dgm:pt>
    <dgm:pt modelId="{E8D679B1-26B3-4BB5-96B3-B13E971B2F01}">
      <dgm:prSet custT="1"/>
      <dgm:spPr/>
      <dgm:t>
        <a:bodyPr/>
        <a:lstStyle/>
        <a:p>
          <a:r>
            <a:rPr lang="fr-FR" sz="2800" b="1" dirty="0">
              <a:solidFill>
                <a:schemeClr val="tx1"/>
              </a:solidFill>
              <a:latin typeface="Source Sans Pro" panose="020B0503030403020204" pitchFamily="34" charset="0"/>
              <a:cs typeface="Arial" panose="020B0604020202020204" pitchFamily="34" charset="0"/>
            </a:rPr>
            <a:t>Phase 2 : Diagnostic de communication/état des lieux</a:t>
          </a:r>
        </a:p>
      </dgm:t>
    </dgm:pt>
    <dgm:pt modelId="{ED2EC795-42EA-4FE9-A647-A973CBD2F7C9}" type="parTrans" cxnId="{2513ED91-E722-49F8-BEDA-4729918DCD0A}">
      <dgm:prSet/>
      <dgm:spPr/>
      <dgm:t>
        <a:bodyPr/>
        <a:lstStyle/>
        <a:p>
          <a:endParaRPr lang="en-GB" sz="2800">
            <a:latin typeface="Source Sans Pro" panose="020B0503030403020204" pitchFamily="34" charset="0"/>
          </a:endParaRPr>
        </a:p>
      </dgm:t>
    </dgm:pt>
    <dgm:pt modelId="{ABE5167D-797D-4DFD-A47F-D700644423D8}" type="sibTrans" cxnId="{2513ED91-E722-49F8-BEDA-4729918DCD0A}">
      <dgm:prSet/>
      <dgm:spPr/>
      <dgm:t>
        <a:bodyPr/>
        <a:lstStyle/>
        <a:p>
          <a:endParaRPr lang="en-GB" sz="2800">
            <a:latin typeface="Source Sans Pro" panose="020B0503030403020204" pitchFamily="34" charset="0"/>
          </a:endParaRPr>
        </a:p>
      </dgm:t>
    </dgm:pt>
    <dgm:pt modelId="{286FFC2A-82C3-4B99-8E3B-D26277EB85B0}">
      <dgm:prSet custT="1"/>
      <dgm:spPr/>
      <dgm:t>
        <a:bodyPr/>
        <a:lstStyle/>
        <a:p>
          <a:r>
            <a:rPr lang="fr-FR" sz="2800" b="1" dirty="0">
              <a:solidFill>
                <a:schemeClr val="tx1"/>
              </a:solidFill>
              <a:latin typeface="Source Sans Pro" panose="020B0503030403020204" pitchFamily="34" charset="0"/>
              <a:cs typeface="Arial" panose="020B0604020202020204" pitchFamily="34" charset="0"/>
            </a:rPr>
            <a:t>Phase 3 : Elaboration des messages et Formulation de la stratégie de communication </a:t>
          </a:r>
        </a:p>
      </dgm:t>
    </dgm:pt>
    <dgm:pt modelId="{41E74DAA-DE67-48DA-B8C4-D4D3D5EA0333}" type="parTrans" cxnId="{B8510095-4BD5-486B-8BB2-FE9026B40404}">
      <dgm:prSet/>
      <dgm:spPr/>
      <dgm:t>
        <a:bodyPr/>
        <a:lstStyle/>
        <a:p>
          <a:endParaRPr lang="en-GB" sz="2800">
            <a:latin typeface="Source Sans Pro" panose="020B0503030403020204" pitchFamily="34" charset="0"/>
          </a:endParaRPr>
        </a:p>
      </dgm:t>
    </dgm:pt>
    <dgm:pt modelId="{F59AE30A-0238-4379-A490-D5825011FDCD}" type="sibTrans" cxnId="{B8510095-4BD5-486B-8BB2-FE9026B40404}">
      <dgm:prSet/>
      <dgm:spPr/>
      <dgm:t>
        <a:bodyPr/>
        <a:lstStyle/>
        <a:p>
          <a:endParaRPr lang="en-GB" sz="2800">
            <a:latin typeface="Source Sans Pro" panose="020B0503030403020204" pitchFamily="34" charset="0"/>
          </a:endParaRPr>
        </a:p>
      </dgm:t>
    </dgm:pt>
    <dgm:pt modelId="{0CC1EB2C-50CF-46DD-B799-99937BED9085}">
      <dgm:prSet custT="1"/>
      <dgm:spPr/>
      <dgm:t>
        <a:bodyPr/>
        <a:lstStyle/>
        <a:p>
          <a:r>
            <a:rPr lang="fr-FR" sz="2800" b="1" dirty="0">
              <a:latin typeface="Source Sans Pro" panose="020B0503030403020204" pitchFamily="34" charset="0"/>
              <a:cs typeface="Arial" panose="020B0604020202020204" pitchFamily="34" charset="0"/>
            </a:rPr>
            <a:t>Phase 4 : Restitution, validation et soumission des documents finaux</a:t>
          </a:r>
        </a:p>
      </dgm:t>
    </dgm:pt>
    <dgm:pt modelId="{F122E6B7-9143-454C-9ECB-B1C5A9DDA1A1}" type="parTrans" cxnId="{44356C78-304F-4AF9-8DD8-CBB2F1D79A1B}">
      <dgm:prSet/>
      <dgm:spPr/>
      <dgm:t>
        <a:bodyPr/>
        <a:lstStyle/>
        <a:p>
          <a:endParaRPr lang="en-GB" sz="2800">
            <a:latin typeface="Source Sans Pro" panose="020B0503030403020204" pitchFamily="34" charset="0"/>
          </a:endParaRPr>
        </a:p>
      </dgm:t>
    </dgm:pt>
    <dgm:pt modelId="{C90ECB4E-F753-48B5-AC6A-DA3C65385DB3}" type="sibTrans" cxnId="{44356C78-304F-4AF9-8DD8-CBB2F1D79A1B}">
      <dgm:prSet/>
      <dgm:spPr/>
      <dgm:t>
        <a:bodyPr/>
        <a:lstStyle/>
        <a:p>
          <a:endParaRPr lang="en-GB" sz="2800">
            <a:latin typeface="Source Sans Pro" panose="020B0503030403020204" pitchFamily="34" charset="0"/>
          </a:endParaRPr>
        </a:p>
      </dgm:t>
    </dgm:pt>
    <dgm:pt modelId="{BE8F4E23-B09C-439C-AEB5-4DF1D13AC866}" type="pres">
      <dgm:prSet presAssocID="{994E421E-F55A-45C7-85A5-C50D208A6761}" presName="Name0" presStyleCnt="0">
        <dgm:presLayoutVars>
          <dgm:chMax val="7"/>
          <dgm:chPref val="7"/>
          <dgm:dir/>
        </dgm:presLayoutVars>
      </dgm:prSet>
      <dgm:spPr/>
    </dgm:pt>
    <dgm:pt modelId="{832ECF39-2926-45AD-8953-AD75818E3293}" type="pres">
      <dgm:prSet presAssocID="{994E421E-F55A-45C7-85A5-C50D208A6761}" presName="Name1" presStyleCnt="0"/>
      <dgm:spPr/>
    </dgm:pt>
    <dgm:pt modelId="{CCF292B3-33C9-4F42-8EFB-5821D9D4B176}" type="pres">
      <dgm:prSet presAssocID="{994E421E-F55A-45C7-85A5-C50D208A6761}" presName="cycle" presStyleCnt="0"/>
      <dgm:spPr/>
    </dgm:pt>
    <dgm:pt modelId="{2774EEF7-D3F3-4305-B18A-84193207EE78}" type="pres">
      <dgm:prSet presAssocID="{994E421E-F55A-45C7-85A5-C50D208A6761}" presName="srcNode" presStyleLbl="node1" presStyleIdx="0" presStyleCnt="4"/>
      <dgm:spPr/>
    </dgm:pt>
    <dgm:pt modelId="{0DA7E46B-8244-4D36-A7DF-5CBE06C1D1B2}" type="pres">
      <dgm:prSet presAssocID="{994E421E-F55A-45C7-85A5-C50D208A6761}" presName="conn" presStyleLbl="parChTrans1D2" presStyleIdx="0" presStyleCnt="1"/>
      <dgm:spPr/>
    </dgm:pt>
    <dgm:pt modelId="{DFC927F5-F3F4-464A-9324-1B87E66821A5}" type="pres">
      <dgm:prSet presAssocID="{994E421E-F55A-45C7-85A5-C50D208A6761}" presName="extraNode" presStyleLbl="node1" presStyleIdx="0" presStyleCnt="4"/>
      <dgm:spPr/>
    </dgm:pt>
    <dgm:pt modelId="{0F8DE050-F1C5-40F2-8F52-829539FFB201}" type="pres">
      <dgm:prSet presAssocID="{994E421E-F55A-45C7-85A5-C50D208A6761}" presName="dstNode" presStyleLbl="node1" presStyleIdx="0" presStyleCnt="4"/>
      <dgm:spPr/>
    </dgm:pt>
    <dgm:pt modelId="{13A976E7-85E5-4BA2-8A1B-0889952993F2}" type="pres">
      <dgm:prSet presAssocID="{0107521B-92B1-4643-84D7-15F53796E5D6}" presName="text_1" presStyleLbl="node1" presStyleIdx="0" presStyleCnt="4">
        <dgm:presLayoutVars>
          <dgm:bulletEnabled val="1"/>
        </dgm:presLayoutVars>
      </dgm:prSet>
      <dgm:spPr/>
    </dgm:pt>
    <dgm:pt modelId="{5054D7CA-8A78-4D32-AC47-959D0A51B7DF}" type="pres">
      <dgm:prSet presAssocID="{0107521B-92B1-4643-84D7-15F53796E5D6}" presName="accent_1" presStyleCnt="0"/>
      <dgm:spPr/>
    </dgm:pt>
    <dgm:pt modelId="{9B61E243-E720-4A3D-ADA7-B7F4CAAEE058}" type="pres">
      <dgm:prSet presAssocID="{0107521B-92B1-4643-84D7-15F53796E5D6}" presName="accentRepeatNode" presStyleLbl="solidFgAcc1" presStyleIdx="0" presStyleCnt="4"/>
      <dgm:spPr/>
    </dgm:pt>
    <dgm:pt modelId="{C18F826F-B1ED-405F-9CE5-9F7385E0C4AC}" type="pres">
      <dgm:prSet presAssocID="{E8D679B1-26B3-4BB5-96B3-B13E971B2F01}" presName="text_2" presStyleLbl="node1" presStyleIdx="1" presStyleCnt="4">
        <dgm:presLayoutVars>
          <dgm:bulletEnabled val="1"/>
        </dgm:presLayoutVars>
      </dgm:prSet>
      <dgm:spPr/>
    </dgm:pt>
    <dgm:pt modelId="{975F2B4A-DC20-4AA5-BAB9-49B62B80CB16}" type="pres">
      <dgm:prSet presAssocID="{E8D679B1-26B3-4BB5-96B3-B13E971B2F01}" presName="accent_2" presStyleCnt="0"/>
      <dgm:spPr/>
    </dgm:pt>
    <dgm:pt modelId="{B5C1DD66-FF44-4D8B-8DEA-6166924FF5EC}" type="pres">
      <dgm:prSet presAssocID="{E8D679B1-26B3-4BB5-96B3-B13E971B2F01}" presName="accentRepeatNode" presStyleLbl="solidFgAcc1" presStyleIdx="1" presStyleCnt="4"/>
      <dgm:spPr/>
    </dgm:pt>
    <dgm:pt modelId="{E6C6A005-91AA-42CD-86AE-799447E4D6A5}" type="pres">
      <dgm:prSet presAssocID="{286FFC2A-82C3-4B99-8E3B-D26277EB85B0}" presName="text_3" presStyleLbl="node1" presStyleIdx="2" presStyleCnt="4">
        <dgm:presLayoutVars>
          <dgm:bulletEnabled val="1"/>
        </dgm:presLayoutVars>
      </dgm:prSet>
      <dgm:spPr/>
    </dgm:pt>
    <dgm:pt modelId="{AB1EC299-A1A6-4A7C-81D9-28924D199F2C}" type="pres">
      <dgm:prSet presAssocID="{286FFC2A-82C3-4B99-8E3B-D26277EB85B0}" presName="accent_3" presStyleCnt="0"/>
      <dgm:spPr/>
    </dgm:pt>
    <dgm:pt modelId="{E5D06FA6-93FF-41AC-B613-BD9401B906F9}" type="pres">
      <dgm:prSet presAssocID="{286FFC2A-82C3-4B99-8E3B-D26277EB85B0}" presName="accentRepeatNode" presStyleLbl="solidFgAcc1" presStyleIdx="2" presStyleCnt="4"/>
      <dgm:spPr/>
    </dgm:pt>
    <dgm:pt modelId="{45E1E908-8277-4511-85D5-1C62B9B307A0}" type="pres">
      <dgm:prSet presAssocID="{0CC1EB2C-50CF-46DD-B799-99937BED9085}" presName="text_4" presStyleLbl="node1" presStyleIdx="3" presStyleCnt="4">
        <dgm:presLayoutVars>
          <dgm:bulletEnabled val="1"/>
        </dgm:presLayoutVars>
      </dgm:prSet>
      <dgm:spPr/>
    </dgm:pt>
    <dgm:pt modelId="{3A7FFEB5-63AD-4745-B833-C5FCE78A5B7C}" type="pres">
      <dgm:prSet presAssocID="{0CC1EB2C-50CF-46DD-B799-99937BED9085}" presName="accent_4" presStyleCnt="0"/>
      <dgm:spPr/>
    </dgm:pt>
    <dgm:pt modelId="{4426B621-5F04-4C83-90B9-ED38AA90CB15}" type="pres">
      <dgm:prSet presAssocID="{0CC1EB2C-50CF-46DD-B799-99937BED9085}" presName="accentRepeatNode" presStyleLbl="solidFgAcc1" presStyleIdx="3" presStyleCnt="4"/>
      <dgm:spPr/>
    </dgm:pt>
  </dgm:ptLst>
  <dgm:cxnLst>
    <dgm:cxn modelId="{1131FF22-C2E4-47E1-8C92-FFACB25C66B4}" type="presOf" srcId="{C3110A25-86F3-4329-B7CB-74B82F0CCD4A}" destId="{0DA7E46B-8244-4D36-A7DF-5CBE06C1D1B2}" srcOrd="0" destOrd="0" presId="urn:microsoft.com/office/officeart/2008/layout/VerticalCurvedList"/>
    <dgm:cxn modelId="{B85A2942-C131-43A2-A2C4-00F677B77431}" type="presOf" srcId="{286FFC2A-82C3-4B99-8E3B-D26277EB85B0}" destId="{E6C6A005-91AA-42CD-86AE-799447E4D6A5}" srcOrd="0" destOrd="0" presId="urn:microsoft.com/office/officeart/2008/layout/VerticalCurvedList"/>
    <dgm:cxn modelId="{3D971273-F2AA-400B-BC73-9CD1C4DD8584}" type="presOf" srcId="{994E421E-F55A-45C7-85A5-C50D208A6761}" destId="{BE8F4E23-B09C-439C-AEB5-4DF1D13AC866}" srcOrd="0" destOrd="0" presId="urn:microsoft.com/office/officeart/2008/layout/VerticalCurvedList"/>
    <dgm:cxn modelId="{44356C78-304F-4AF9-8DD8-CBB2F1D79A1B}" srcId="{994E421E-F55A-45C7-85A5-C50D208A6761}" destId="{0CC1EB2C-50CF-46DD-B799-99937BED9085}" srcOrd="3" destOrd="0" parTransId="{F122E6B7-9143-454C-9ECB-B1C5A9DDA1A1}" sibTransId="{C90ECB4E-F753-48B5-AC6A-DA3C65385DB3}"/>
    <dgm:cxn modelId="{348FC278-0B57-4B04-8274-D9412CA8F95E}" type="presOf" srcId="{E8D679B1-26B3-4BB5-96B3-B13E971B2F01}" destId="{C18F826F-B1ED-405F-9CE5-9F7385E0C4AC}" srcOrd="0" destOrd="0" presId="urn:microsoft.com/office/officeart/2008/layout/VerticalCurvedList"/>
    <dgm:cxn modelId="{D715F77C-3C09-4918-967A-96367363031E}" type="presOf" srcId="{0107521B-92B1-4643-84D7-15F53796E5D6}" destId="{13A976E7-85E5-4BA2-8A1B-0889952993F2}" srcOrd="0" destOrd="0" presId="urn:microsoft.com/office/officeart/2008/layout/VerticalCurvedList"/>
    <dgm:cxn modelId="{2513ED91-E722-49F8-BEDA-4729918DCD0A}" srcId="{994E421E-F55A-45C7-85A5-C50D208A6761}" destId="{E8D679B1-26B3-4BB5-96B3-B13E971B2F01}" srcOrd="1" destOrd="0" parTransId="{ED2EC795-42EA-4FE9-A647-A973CBD2F7C9}" sibTransId="{ABE5167D-797D-4DFD-A47F-D700644423D8}"/>
    <dgm:cxn modelId="{B8510095-4BD5-486B-8BB2-FE9026B40404}" srcId="{994E421E-F55A-45C7-85A5-C50D208A6761}" destId="{286FFC2A-82C3-4B99-8E3B-D26277EB85B0}" srcOrd="2" destOrd="0" parTransId="{41E74DAA-DE67-48DA-B8C4-D4D3D5EA0333}" sibTransId="{F59AE30A-0238-4379-A490-D5825011FDCD}"/>
    <dgm:cxn modelId="{D82B11B2-793B-44D9-B0BE-50F3066CEC92}" srcId="{994E421E-F55A-45C7-85A5-C50D208A6761}" destId="{0107521B-92B1-4643-84D7-15F53796E5D6}" srcOrd="0" destOrd="0" parTransId="{62F9AC28-5910-42C8-9C73-D491E65F5652}" sibTransId="{C3110A25-86F3-4329-B7CB-74B82F0CCD4A}"/>
    <dgm:cxn modelId="{DEBFF4C8-D057-434E-9043-BEB251EEB679}" type="presOf" srcId="{0CC1EB2C-50CF-46DD-B799-99937BED9085}" destId="{45E1E908-8277-4511-85D5-1C62B9B307A0}" srcOrd="0" destOrd="0" presId="urn:microsoft.com/office/officeart/2008/layout/VerticalCurvedList"/>
    <dgm:cxn modelId="{A72381CE-5BF0-4A1C-A094-50F4A86A8434}" type="presParOf" srcId="{BE8F4E23-B09C-439C-AEB5-4DF1D13AC866}" destId="{832ECF39-2926-45AD-8953-AD75818E3293}" srcOrd="0" destOrd="0" presId="urn:microsoft.com/office/officeart/2008/layout/VerticalCurvedList"/>
    <dgm:cxn modelId="{7FDDFD8A-CF79-4378-A5F3-38AA630B9927}" type="presParOf" srcId="{832ECF39-2926-45AD-8953-AD75818E3293}" destId="{CCF292B3-33C9-4F42-8EFB-5821D9D4B176}" srcOrd="0" destOrd="0" presId="urn:microsoft.com/office/officeart/2008/layout/VerticalCurvedList"/>
    <dgm:cxn modelId="{6C61F010-CD27-4C79-9892-CE976752E90D}" type="presParOf" srcId="{CCF292B3-33C9-4F42-8EFB-5821D9D4B176}" destId="{2774EEF7-D3F3-4305-B18A-84193207EE78}" srcOrd="0" destOrd="0" presId="urn:microsoft.com/office/officeart/2008/layout/VerticalCurvedList"/>
    <dgm:cxn modelId="{7D8C05D9-BAD0-4353-B123-D50D5501CD33}" type="presParOf" srcId="{CCF292B3-33C9-4F42-8EFB-5821D9D4B176}" destId="{0DA7E46B-8244-4D36-A7DF-5CBE06C1D1B2}" srcOrd="1" destOrd="0" presId="urn:microsoft.com/office/officeart/2008/layout/VerticalCurvedList"/>
    <dgm:cxn modelId="{3E213CFB-B939-4FF6-AB7C-0D8685B18799}" type="presParOf" srcId="{CCF292B3-33C9-4F42-8EFB-5821D9D4B176}" destId="{DFC927F5-F3F4-464A-9324-1B87E66821A5}" srcOrd="2" destOrd="0" presId="urn:microsoft.com/office/officeart/2008/layout/VerticalCurvedList"/>
    <dgm:cxn modelId="{D5F0DDEB-BBC7-4688-AE7B-EEA5D0144DCA}" type="presParOf" srcId="{CCF292B3-33C9-4F42-8EFB-5821D9D4B176}" destId="{0F8DE050-F1C5-40F2-8F52-829539FFB201}" srcOrd="3" destOrd="0" presId="urn:microsoft.com/office/officeart/2008/layout/VerticalCurvedList"/>
    <dgm:cxn modelId="{173DCDAB-8E35-4A56-964E-AC2533582CCA}" type="presParOf" srcId="{832ECF39-2926-45AD-8953-AD75818E3293}" destId="{13A976E7-85E5-4BA2-8A1B-0889952993F2}" srcOrd="1" destOrd="0" presId="urn:microsoft.com/office/officeart/2008/layout/VerticalCurvedList"/>
    <dgm:cxn modelId="{9AE5C395-C162-4B6B-9EBF-8281389FE144}" type="presParOf" srcId="{832ECF39-2926-45AD-8953-AD75818E3293}" destId="{5054D7CA-8A78-4D32-AC47-959D0A51B7DF}" srcOrd="2" destOrd="0" presId="urn:microsoft.com/office/officeart/2008/layout/VerticalCurvedList"/>
    <dgm:cxn modelId="{DA53843E-98E7-491D-89E5-7E03016302C1}" type="presParOf" srcId="{5054D7CA-8A78-4D32-AC47-959D0A51B7DF}" destId="{9B61E243-E720-4A3D-ADA7-B7F4CAAEE058}" srcOrd="0" destOrd="0" presId="urn:microsoft.com/office/officeart/2008/layout/VerticalCurvedList"/>
    <dgm:cxn modelId="{8212BB45-166C-4FC8-AD53-BA34A0CB6B34}" type="presParOf" srcId="{832ECF39-2926-45AD-8953-AD75818E3293}" destId="{C18F826F-B1ED-405F-9CE5-9F7385E0C4AC}" srcOrd="3" destOrd="0" presId="urn:microsoft.com/office/officeart/2008/layout/VerticalCurvedList"/>
    <dgm:cxn modelId="{EC4AB5DB-7CF7-4588-9FAE-1132AF28F17C}" type="presParOf" srcId="{832ECF39-2926-45AD-8953-AD75818E3293}" destId="{975F2B4A-DC20-4AA5-BAB9-49B62B80CB16}" srcOrd="4" destOrd="0" presId="urn:microsoft.com/office/officeart/2008/layout/VerticalCurvedList"/>
    <dgm:cxn modelId="{AF8FBEE0-1A6C-4415-AF99-BCF482BF8FC5}" type="presParOf" srcId="{975F2B4A-DC20-4AA5-BAB9-49B62B80CB16}" destId="{B5C1DD66-FF44-4D8B-8DEA-6166924FF5EC}" srcOrd="0" destOrd="0" presId="urn:microsoft.com/office/officeart/2008/layout/VerticalCurvedList"/>
    <dgm:cxn modelId="{E5C2D864-7222-499B-9E7E-BB922384DF70}" type="presParOf" srcId="{832ECF39-2926-45AD-8953-AD75818E3293}" destId="{E6C6A005-91AA-42CD-86AE-799447E4D6A5}" srcOrd="5" destOrd="0" presId="urn:microsoft.com/office/officeart/2008/layout/VerticalCurvedList"/>
    <dgm:cxn modelId="{778CF7CF-5183-4F0A-8E88-8B6B20A9A0C9}" type="presParOf" srcId="{832ECF39-2926-45AD-8953-AD75818E3293}" destId="{AB1EC299-A1A6-4A7C-81D9-28924D199F2C}" srcOrd="6" destOrd="0" presId="urn:microsoft.com/office/officeart/2008/layout/VerticalCurvedList"/>
    <dgm:cxn modelId="{F1DDB5F4-2EB0-4EE2-94B6-E5A968C84C0F}" type="presParOf" srcId="{AB1EC299-A1A6-4A7C-81D9-28924D199F2C}" destId="{E5D06FA6-93FF-41AC-B613-BD9401B906F9}" srcOrd="0" destOrd="0" presId="urn:microsoft.com/office/officeart/2008/layout/VerticalCurvedList"/>
    <dgm:cxn modelId="{B7DDF578-556D-41FC-A031-47B0779AEA31}" type="presParOf" srcId="{832ECF39-2926-45AD-8953-AD75818E3293}" destId="{45E1E908-8277-4511-85D5-1C62B9B307A0}" srcOrd="7" destOrd="0" presId="urn:microsoft.com/office/officeart/2008/layout/VerticalCurvedList"/>
    <dgm:cxn modelId="{2A2D8A1D-1D04-4CDB-A714-8E205B71E26D}" type="presParOf" srcId="{832ECF39-2926-45AD-8953-AD75818E3293}" destId="{3A7FFEB5-63AD-4745-B833-C5FCE78A5B7C}" srcOrd="8" destOrd="0" presId="urn:microsoft.com/office/officeart/2008/layout/VerticalCurvedList"/>
    <dgm:cxn modelId="{2C4B67E4-9EE3-4615-811D-7F1E226A0A91}" type="presParOf" srcId="{3A7FFEB5-63AD-4745-B833-C5FCE78A5B7C}" destId="{4426B621-5F04-4C83-90B9-ED38AA90CB1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0B7608B-BB58-4F40-A842-F5BFD1D943CC}"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GB"/>
        </a:p>
      </dgm:t>
    </dgm:pt>
    <dgm:pt modelId="{F0F3BB02-78D5-4E23-92FB-8C9C15BF9C09}">
      <dgm:prSet custT="1"/>
      <dgm:spPr/>
      <dgm:t>
        <a:bodyPr/>
        <a:lstStyle/>
        <a:p>
          <a:pPr algn="l"/>
          <a:r>
            <a:rPr lang="fr-FR" sz="4800" dirty="0">
              <a:latin typeface="Source Sans Pro" panose="020B0503030403020204" pitchFamily="34" charset="0"/>
              <a:cs typeface="Arial" panose="020B0604020202020204" pitchFamily="34" charset="0"/>
            </a:rPr>
            <a:t>Prochaines étapes</a:t>
          </a:r>
        </a:p>
      </dgm:t>
    </dgm:pt>
    <dgm:pt modelId="{3809880A-970C-41A6-8AEE-830AC5D38B43}" type="parTrans" cxnId="{E4161048-D962-4BF0-8D08-A4D0A18D6EA5}">
      <dgm:prSet/>
      <dgm:spPr/>
      <dgm:t>
        <a:bodyPr/>
        <a:lstStyle/>
        <a:p>
          <a:endParaRPr lang="en-GB" sz="6000"/>
        </a:p>
      </dgm:t>
    </dgm:pt>
    <dgm:pt modelId="{8EAD136C-F639-4ABE-A0E3-12BA0A001210}" type="sibTrans" cxnId="{E4161048-D962-4BF0-8D08-A4D0A18D6EA5}">
      <dgm:prSet/>
      <dgm:spPr/>
      <dgm:t>
        <a:bodyPr/>
        <a:lstStyle/>
        <a:p>
          <a:endParaRPr lang="en-GB" sz="6000"/>
        </a:p>
      </dgm:t>
    </dgm:pt>
    <dgm:pt modelId="{40B44791-D9BD-49B6-A8B7-2C337B6F9127}">
      <dgm:prSet custT="1"/>
      <dgm:spPr/>
      <dgm:t>
        <a:bodyPr/>
        <a:lstStyle/>
        <a:p>
          <a:pPr algn="l"/>
          <a:r>
            <a:rPr lang="fr-FR" sz="3200" dirty="0">
              <a:latin typeface="Source Sans Pro" panose="020B0503030403020204" pitchFamily="34" charset="0"/>
              <a:cs typeface="Arial" panose="020B0604020202020204" pitchFamily="34" charset="0"/>
            </a:rPr>
            <a:t>Organiser un atelier régional de validation</a:t>
          </a:r>
        </a:p>
      </dgm:t>
    </dgm:pt>
    <dgm:pt modelId="{8BDED327-9342-45B3-AA3F-7B37D6B9DE58}" type="parTrans" cxnId="{57E84AAB-6F0E-46F1-A104-A31DFA06F440}">
      <dgm:prSet/>
      <dgm:spPr/>
      <dgm:t>
        <a:bodyPr/>
        <a:lstStyle/>
        <a:p>
          <a:endParaRPr lang="en-GB" sz="6000"/>
        </a:p>
      </dgm:t>
    </dgm:pt>
    <dgm:pt modelId="{79DB2B96-A8D7-4EF2-96A4-B81F01A51AAF}" type="sibTrans" cxnId="{57E84AAB-6F0E-46F1-A104-A31DFA06F440}">
      <dgm:prSet/>
      <dgm:spPr/>
      <dgm:t>
        <a:bodyPr/>
        <a:lstStyle/>
        <a:p>
          <a:endParaRPr lang="en-GB" sz="6000"/>
        </a:p>
      </dgm:t>
    </dgm:pt>
    <dgm:pt modelId="{CD0CB98D-6947-48A5-B855-655652685543}">
      <dgm:prSet custT="1"/>
      <dgm:spPr/>
      <dgm:t>
        <a:bodyPr/>
        <a:lstStyle/>
        <a:p>
          <a:pPr algn="l"/>
          <a:r>
            <a:rPr lang="fr-FR" sz="3200" dirty="0">
              <a:latin typeface="Source Sans Pro" panose="020B0503030403020204" pitchFamily="34" charset="0"/>
              <a:cs typeface="Arial" panose="020B0604020202020204" pitchFamily="34" charset="0"/>
            </a:rPr>
            <a:t>Prendre en compte les feedbacks et finaliser la stratégie</a:t>
          </a:r>
        </a:p>
      </dgm:t>
    </dgm:pt>
    <dgm:pt modelId="{5EDAAEE2-CD28-45DC-976D-FDE36A515CBF}" type="parTrans" cxnId="{CD8792B3-882D-4692-B06E-A73BD7D479D6}">
      <dgm:prSet/>
      <dgm:spPr/>
      <dgm:t>
        <a:bodyPr/>
        <a:lstStyle/>
        <a:p>
          <a:endParaRPr lang="en-GB" sz="6000"/>
        </a:p>
      </dgm:t>
    </dgm:pt>
    <dgm:pt modelId="{03B81E03-28EB-46D0-BC5D-EA0BA2D22C2E}" type="sibTrans" cxnId="{CD8792B3-882D-4692-B06E-A73BD7D479D6}">
      <dgm:prSet/>
      <dgm:spPr/>
      <dgm:t>
        <a:bodyPr/>
        <a:lstStyle/>
        <a:p>
          <a:endParaRPr lang="en-GB" sz="6000"/>
        </a:p>
      </dgm:t>
    </dgm:pt>
    <dgm:pt modelId="{BD3AA458-9959-4988-A118-283023543934}">
      <dgm:prSet custT="1"/>
      <dgm:spPr/>
      <dgm:t>
        <a:bodyPr/>
        <a:lstStyle/>
        <a:p>
          <a:pPr algn="l"/>
          <a:r>
            <a:rPr lang="fr-FR" sz="3200" dirty="0">
              <a:latin typeface="Source Sans Pro" panose="020B0503030403020204" pitchFamily="34" charset="0"/>
              <a:cs typeface="Arial" panose="020B0604020202020204" pitchFamily="34" charset="0"/>
            </a:rPr>
            <a:t>Soumettre le document de stratégie de communication finalisé.</a:t>
          </a:r>
        </a:p>
      </dgm:t>
    </dgm:pt>
    <dgm:pt modelId="{0C236D06-237A-4D12-916A-3842107CEA20}" type="parTrans" cxnId="{5D1A82FA-B229-47CD-BDC6-6344496EB05F}">
      <dgm:prSet/>
      <dgm:spPr/>
      <dgm:t>
        <a:bodyPr/>
        <a:lstStyle/>
        <a:p>
          <a:endParaRPr lang="en-GB" sz="6000"/>
        </a:p>
      </dgm:t>
    </dgm:pt>
    <dgm:pt modelId="{56D2FF22-49D0-4762-8248-F59FBAED9FFB}" type="sibTrans" cxnId="{5D1A82FA-B229-47CD-BDC6-6344496EB05F}">
      <dgm:prSet/>
      <dgm:spPr/>
      <dgm:t>
        <a:bodyPr/>
        <a:lstStyle/>
        <a:p>
          <a:endParaRPr lang="en-GB" sz="6000"/>
        </a:p>
      </dgm:t>
    </dgm:pt>
    <dgm:pt modelId="{505D2E29-5323-42F1-B831-E8CD2D043890}">
      <dgm:prSet custT="1"/>
      <dgm:spPr/>
      <dgm:t>
        <a:bodyPr/>
        <a:lstStyle/>
        <a:p>
          <a:pPr algn="l"/>
          <a:r>
            <a:rPr lang="fr-FR" sz="3200" dirty="0">
              <a:latin typeface="Source Sans Pro" panose="020B0503030403020204" pitchFamily="34" charset="0"/>
              <a:cs typeface="Arial" panose="020B0604020202020204" pitchFamily="34" charset="0"/>
            </a:rPr>
            <a:t>Finaliser l’élaboration de la stratégie</a:t>
          </a:r>
        </a:p>
      </dgm:t>
    </dgm:pt>
    <dgm:pt modelId="{A61632AF-0B7A-4279-8204-5EB4F0B9A270}" type="parTrans" cxnId="{46D929DF-1E14-4199-A341-2BCF5173F681}">
      <dgm:prSet/>
      <dgm:spPr/>
      <dgm:t>
        <a:bodyPr/>
        <a:lstStyle/>
        <a:p>
          <a:endParaRPr lang="en-GB" sz="6000"/>
        </a:p>
      </dgm:t>
    </dgm:pt>
    <dgm:pt modelId="{E9E3F711-95EE-4545-9EA0-DFD5A7DB0377}" type="sibTrans" cxnId="{46D929DF-1E14-4199-A341-2BCF5173F681}">
      <dgm:prSet/>
      <dgm:spPr/>
      <dgm:t>
        <a:bodyPr/>
        <a:lstStyle/>
        <a:p>
          <a:endParaRPr lang="en-GB" sz="6000"/>
        </a:p>
      </dgm:t>
    </dgm:pt>
    <dgm:pt modelId="{236C18A9-E153-49AB-8680-2478D38CD517}">
      <dgm:prSet custT="1"/>
      <dgm:spPr/>
      <dgm:t>
        <a:bodyPr/>
        <a:lstStyle/>
        <a:p>
          <a:pPr algn="l"/>
          <a:r>
            <a:rPr lang="fr-FR" sz="3200" dirty="0">
              <a:latin typeface="Source Sans Pro" panose="020B0503030403020204" pitchFamily="34" charset="0"/>
              <a:cs typeface="Arial" panose="020B0604020202020204" pitchFamily="34" charset="0"/>
            </a:rPr>
            <a:t>Réaliser les autres entretiens</a:t>
          </a:r>
        </a:p>
      </dgm:t>
    </dgm:pt>
    <dgm:pt modelId="{F9F61D9B-7E55-45F7-8661-43567933EB2A}" type="parTrans" cxnId="{FF67EE31-D12F-48D9-95A6-23B4215F0AE6}">
      <dgm:prSet/>
      <dgm:spPr/>
      <dgm:t>
        <a:bodyPr/>
        <a:lstStyle/>
        <a:p>
          <a:endParaRPr lang="en-GB" sz="6000"/>
        </a:p>
      </dgm:t>
    </dgm:pt>
    <dgm:pt modelId="{E7D58155-8707-4E50-BACB-B2742864B0E3}" type="sibTrans" cxnId="{FF67EE31-D12F-48D9-95A6-23B4215F0AE6}">
      <dgm:prSet/>
      <dgm:spPr/>
      <dgm:t>
        <a:bodyPr/>
        <a:lstStyle/>
        <a:p>
          <a:endParaRPr lang="en-GB" sz="6000"/>
        </a:p>
      </dgm:t>
    </dgm:pt>
    <dgm:pt modelId="{59444B1B-F080-4550-B5E5-128A3B65CA41}" type="pres">
      <dgm:prSet presAssocID="{B0B7608B-BB58-4F40-A842-F5BFD1D943CC}" presName="diagram" presStyleCnt="0">
        <dgm:presLayoutVars>
          <dgm:chPref val="1"/>
          <dgm:dir/>
          <dgm:animOne val="branch"/>
          <dgm:animLvl val="lvl"/>
          <dgm:resizeHandles/>
        </dgm:presLayoutVars>
      </dgm:prSet>
      <dgm:spPr/>
    </dgm:pt>
    <dgm:pt modelId="{620098F8-E6D8-4B02-BF14-9EE193AA2EB8}" type="pres">
      <dgm:prSet presAssocID="{F0F3BB02-78D5-4E23-92FB-8C9C15BF9C09}" presName="root" presStyleCnt="0"/>
      <dgm:spPr/>
    </dgm:pt>
    <dgm:pt modelId="{96CB8BE3-B502-4183-8848-7B98DBA5628D}" type="pres">
      <dgm:prSet presAssocID="{F0F3BB02-78D5-4E23-92FB-8C9C15BF9C09}" presName="rootComposite" presStyleCnt="0"/>
      <dgm:spPr/>
    </dgm:pt>
    <dgm:pt modelId="{656F7DDA-F462-4417-BED8-BA98912911F4}" type="pres">
      <dgm:prSet presAssocID="{F0F3BB02-78D5-4E23-92FB-8C9C15BF9C09}" presName="rootText" presStyleLbl="node1" presStyleIdx="0" presStyleCnt="1" custScaleX="667101" custScaleY="149674"/>
      <dgm:spPr/>
    </dgm:pt>
    <dgm:pt modelId="{EFA859C6-8ED0-419D-8792-4D2667836346}" type="pres">
      <dgm:prSet presAssocID="{F0F3BB02-78D5-4E23-92FB-8C9C15BF9C09}" presName="rootConnector" presStyleLbl="node1" presStyleIdx="0" presStyleCnt="1"/>
      <dgm:spPr/>
    </dgm:pt>
    <dgm:pt modelId="{24F73498-1FD5-4783-8880-13F41B631FDB}" type="pres">
      <dgm:prSet presAssocID="{F0F3BB02-78D5-4E23-92FB-8C9C15BF9C09}" presName="childShape" presStyleCnt="0"/>
      <dgm:spPr/>
    </dgm:pt>
    <dgm:pt modelId="{F15D8469-95AF-4091-B45D-FC8891A24087}" type="pres">
      <dgm:prSet presAssocID="{F9F61D9B-7E55-45F7-8661-43567933EB2A}" presName="Name13" presStyleLbl="parChTrans1D2" presStyleIdx="0" presStyleCnt="5"/>
      <dgm:spPr/>
    </dgm:pt>
    <dgm:pt modelId="{0F42BC67-BA6E-4E34-B2CB-8DF27897134E}" type="pres">
      <dgm:prSet presAssocID="{236C18A9-E153-49AB-8680-2478D38CD517}" presName="childText" presStyleLbl="bgAcc1" presStyleIdx="0" presStyleCnt="5" custScaleX="682531">
        <dgm:presLayoutVars>
          <dgm:bulletEnabled val="1"/>
        </dgm:presLayoutVars>
      </dgm:prSet>
      <dgm:spPr/>
    </dgm:pt>
    <dgm:pt modelId="{EB583447-D148-48AC-BEF5-90801FC5E089}" type="pres">
      <dgm:prSet presAssocID="{A61632AF-0B7A-4279-8204-5EB4F0B9A270}" presName="Name13" presStyleLbl="parChTrans1D2" presStyleIdx="1" presStyleCnt="5"/>
      <dgm:spPr/>
    </dgm:pt>
    <dgm:pt modelId="{A53E3EFF-51FB-4993-B4A2-704FC1CD5613}" type="pres">
      <dgm:prSet presAssocID="{505D2E29-5323-42F1-B831-E8CD2D043890}" presName="childText" presStyleLbl="bgAcc1" presStyleIdx="1" presStyleCnt="5" custScaleX="712639">
        <dgm:presLayoutVars>
          <dgm:bulletEnabled val="1"/>
        </dgm:presLayoutVars>
      </dgm:prSet>
      <dgm:spPr/>
    </dgm:pt>
    <dgm:pt modelId="{AC5473F3-EB3E-451A-B47E-F7B37066A8EB}" type="pres">
      <dgm:prSet presAssocID="{8BDED327-9342-45B3-AA3F-7B37D6B9DE58}" presName="Name13" presStyleLbl="parChTrans1D2" presStyleIdx="2" presStyleCnt="5"/>
      <dgm:spPr/>
    </dgm:pt>
    <dgm:pt modelId="{8FA745A7-D5B8-47AC-8BE2-05DAF585071A}" type="pres">
      <dgm:prSet presAssocID="{40B44791-D9BD-49B6-A8B7-2C337B6F9127}" presName="childText" presStyleLbl="bgAcc1" presStyleIdx="2" presStyleCnt="5" custScaleX="737585">
        <dgm:presLayoutVars>
          <dgm:bulletEnabled val="1"/>
        </dgm:presLayoutVars>
      </dgm:prSet>
      <dgm:spPr/>
    </dgm:pt>
    <dgm:pt modelId="{8C5B583B-65EC-4FFE-8E52-41A1EF197695}" type="pres">
      <dgm:prSet presAssocID="{5EDAAEE2-CD28-45DC-976D-FDE36A515CBF}" presName="Name13" presStyleLbl="parChTrans1D2" presStyleIdx="3" presStyleCnt="5"/>
      <dgm:spPr/>
    </dgm:pt>
    <dgm:pt modelId="{A5D441FB-9282-4D7C-B50F-2FDD51FF16F3}" type="pres">
      <dgm:prSet presAssocID="{CD0CB98D-6947-48A5-B855-655652685543}" presName="childText" presStyleLbl="bgAcc1" presStyleIdx="3" presStyleCnt="5" custScaleX="749634" custScaleY="153150">
        <dgm:presLayoutVars>
          <dgm:bulletEnabled val="1"/>
        </dgm:presLayoutVars>
      </dgm:prSet>
      <dgm:spPr/>
    </dgm:pt>
    <dgm:pt modelId="{31E539A1-3E7C-434D-A0F2-45D8AAA400C2}" type="pres">
      <dgm:prSet presAssocID="{0C236D06-237A-4D12-916A-3842107CEA20}" presName="Name13" presStyleLbl="parChTrans1D2" presStyleIdx="4" presStyleCnt="5"/>
      <dgm:spPr/>
    </dgm:pt>
    <dgm:pt modelId="{FB9A76C5-E626-49EF-A9BB-744AA169BB20}" type="pres">
      <dgm:prSet presAssocID="{BD3AA458-9959-4988-A118-283023543934}" presName="childText" presStyleLbl="bgAcc1" presStyleIdx="4" presStyleCnt="5" custScaleX="765117" custScaleY="162198">
        <dgm:presLayoutVars>
          <dgm:bulletEnabled val="1"/>
        </dgm:presLayoutVars>
      </dgm:prSet>
      <dgm:spPr/>
    </dgm:pt>
  </dgm:ptLst>
  <dgm:cxnLst>
    <dgm:cxn modelId="{FB00D603-1689-4106-917C-331A44A126A4}" type="presOf" srcId="{CD0CB98D-6947-48A5-B855-655652685543}" destId="{A5D441FB-9282-4D7C-B50F-2FDD51FF16F3}" srcOrd="0" destOrd="0" presId="urn:microsoft.com/office/officeart/2005/8/layout/hierarchy3"/>
    <dgm:cxn modelId="{B3E74217-DE1B-4A21-A2FC-A94883BF8D43}" type="presOf" srcId="{0C236D06-237A-4D12-916A-3842107CEA20}" destId="{31E539A1-3E7C-434D-A0F2-45D8AAA400C2}" srcOrd="0" destOrd="0" presId="urn:microsoft.com/office/officeart/2005/8/layout/hierarchy3"/>
    <dgm:cxn modelId="{35007D1C-2069-491E-942F-8DAFEC92E42B}" type="presOf" srcId="{B0B7608B-BB58-4F40-A842-F5BFD1D943CC}" destId="{59444B1B-F080-4550-B5E5-128A3B65CA41}" srcOrd="0" destOrd="0" presId="urn:microsoft.com/office/officeart/2005/8/layout/hierarchy3"/>
    <dgm:cxn modelId="{F966E52D-2E03-46B0-B2DA-F5EFDF1B6768}" type="presOf" srcId="{8BDED327-9342-45B3-AA3F-7B37D6B9DE58}" destId="{AC5473F3-EB3E-451A-B47E-F7B37066A8EB}" srcOrd="0" destOrd="0" presId="urn:microsoft.com/office/officeart/2005/8/layout/hierarchy3"/>
    <dgm:cxn modelId="{FF67EE31-D12F-48D9-95A6-23B4215F0AE6}" srcId="{F0F3BB02-78D5-4E23-92FB-8C9C15BF9C09}" destId="{236C18A9-E153-49AB-8680-2478D38CD517}" srcOrd="0" destOrd="0" parTransId="{F9F61D9B-7E55-45F7-8661-43567933EB2A}" sibTransId="{E7D58155-8707-4E50-BACB-B2742864B0E3}"/>
    <dgm:cxn modelId="{1961AD39-A567-483B-80E4-D0D064FF7BC5}" type="presOf" srcId="{BD3AA458-9959-4988-A118-283023543934}" destId="{FB9A76C5-E626-49EF-A9BB-744AA169BB20}" srcOrd="0" destOrd="0" presId="urn:microsoft.com/office/officeart/2005/8/layout/hierarchy3"/>
    <dgm:cxn modelId="{762BCF66-BA70-41E8-8033-65771D2C971D}" type="presOf" srcId="{A61632AF-0B7A-4279-8204-5EB4F0B9A270}" destId="{EB583447-D148-48AC-BEF5-90801FC5E089}" srcOrd="0" destOrd="0" presId="urn:microsoft.com/office/officeart/2005/8/layout/hierarchy3"/>
    <dgm:cxn modelId="{F079CC67-0F19-478A-8A8E-A7C2546C6C54}" type="presOf" srcId="{F0F3BB02-78D5-4E23-92FB-8C9C15BF9C09}" destId="{656F7DDA-F462-4417-BED8-BA98912911F4}" srcOrd="0" destOrd="0" presId="urn:microsoft.com/office/officeart/2005/8/layout/hierarchy3"/>
    <dgm:cxn modelId="{E4161048-D962-4BF0-8D08-A4D0A18D6EA5}" srcId="{B0B7608B-BB58-4F40-A842-F5BFD1D943CC}" destId="{F0F3BB02-78D5-4E23-92FB-8C9C15BF9C09}" srcOrd="0" destOrd="0" parTransId="{3809880A-970C-41A6-8AEE-830AC5D38B43}" sibTransId="{8EAD136C-F639-4ABE-A0E3-12BA0A001210}"/>
    <dgm:cxn modelId="{2F80DE83-7759-4B23-ABF3-F418C6E64E76}" type="presOf" srcId="{5EDAAEE2-CD28-45DC-976D-FDE36A515CBF}" destId="{8C5B583B-65EC-4FFE-8E52-41A1EF197695}" srcOrd="0" destOrd="0" presId="urn:microsoft.com/office/officeart/2005/8/layout/hierarchy3"/>
    <dgm:cxn modelId="{0D40D88A-7343-41FC-BB8F-A18CB5C1A671}" type="presOf" srcId="{F9F61D9B-7E55-45F7-8661-43567933EB2A}" destId="{F15D8469-95AF-4091-B45D-FC8891A24087}" srcOrd="0" destOrd="0" presId="urn:microsoft.com/office/officeart/2005/8/layout/hierarchy3"/>
    <dgm:cxn modelId="{D19AB399-138E-4C7B-95B7-E974AE059C12}" type="presOf" srcId="{40B44791-D9BD-49B6-A8B7-2C337B6F9127}" destId="{8FA745A7-D5B8-47AC-8BE2-05DAF585071A}" srcOrd="0" destOrd="0" presId="urn:microsoft.com/office/officeart/2005/8/layout/hierarchy3"/>
    <dgm:cxn modelId="{B1E5829A-651A-45FF-B470-B5780701E8AA}" type="presOf" srcId="{505D2E29-5323-42F1-B831-E8CD2D043890}" destId="{A53E3EFF-51FB-4993-B4A2-704FC1CD5613}" srcOrd="0" destOrd="0" presId="urn:microsoft.com/office/officeart/2005/8/layout/hierarchy3"/>
    <dgm:cxn modelId="{57E84AAB-6F0E-46F1-A104-A31DFA06F440}" srcId="{F0F3BB02-78D5-4E23-92FB-8C9C15BF9C09}" destId="{40B44791-D9BD-49B6-A8B7-2C337B6F9127}" srcOrd="2" destOrd="0" parTransId="{8BDED327-9342-45B3-AA3F-7B37D6B9DE58}" sibTransId="{79DB2B96-A8D7-4EF2-96A4-B81F01A51AAF}"/>
    <dgm:cxn modelId="{CD8792B3-882D-4692-B06E-A73BD7D479D6}" srcId="{F0F3BB02-78D5-4E23-92FB-8C9C15BF9C09}" destId="{CD0CB98D-6947-48A5-B855-655652685543}" srcOrd="3" destOrd="0" parTransId="{5EDAAEE2-CD28-45DC-976D-FDE36A515CBF}" sibTransId="{03B81E03-28EB-46D0-BC5D-EA0BA2D22C2E}"/>
    <dgm:cxn modelId="{46D929DF-1E14-4199-A341-2BCF5173F681}" srcId="{F0F3BB02-78D5-4E23-92FB-8C9C15BF9C09}" destId="{505D2E29-5323-42F1-B831-E8CD2D043890}" srcOrd="1" destOrd="0" parTransId="{A61632AF-0B7A-4279-8204-5EB4F0B9A270}" sibTransId="{E9E3F711-95EE-4545-9EA0-DFD5A7DB0377}"/>
    <dgm:cxn modelId="{3DD658E1-88B1-4672-9671-C33E37F88078}" type="presOf" srcId="{F0F3BB02-78D5-4E23-92FB-8C9C15BF9C09}" destId="{EFA859C6-8ED0-419D-8792-4D2667836346}" srcOrd="1" destOrd="0" presId="urn:microsoft.com/office/officeart/2005/8/layout/hierarchy3"/>
    <dgm:cxn modelId="{C513F9EB-9481-409C-9DAE-1779FFB86F44}" type="presOf" srcId="{236C18A9-E153-49AB-8680-2478D38CD517}" destId="{0F42BC67-BA6E-4E34-B2CB-8DF27897134E}" srcOrd="0" destOrd="0" presId="urn:microsoft.com/office/officeart/2005/8/layout/hierarchy3"/>
    <dgm:cxn modelId="{5D1A82FA-B229-47CD-BDC6-6344496EB05F}" srcId="{F0F3BB02-78D5-4E23-92FB-8C9C15BF9C09}" destId="{BD3AA458-9959-4988-A118-283023543934}" srcOrd="4" destOrd="0" parTransId="{0C236D06-237A-4D12-916A-3842107CEA20}" sibTransId="{56D2FF22-49D0-4762-8248-F59FBAED9FFB}"/>
    <dgm:cxn modelId="{5F312D50-759A-4019-94C3-859C5DD2A974}" type="presParOf" srcId="{59444B1B-F080-4550-B5E5-128A3B65CA41}" destId="{620098F8-E6D8-4B02-BF14-9EE193AA2EB8}" srcOrd="0" destOrd="0" presId="urn:microsoft.com/office/officeart/2005/8/layout/hierarchy3"/>
    <dgm:cxn modelId="{B64B6065-4E95-4FF0-B5A4-2A3C21DA1219}" type="presParOf" srcId="{620098F8-E6D8-4B02-BF14-9EE193AA2EB8}" destId="{96CB8BE3-B502-4183-8848-7B98DBA5628D}" srcOrd="0" destOrd="0" presId="urn:microsoft.com/office/officeart/2005/8/layout/hierarchy3"/>
    <dgm:cxn modelId="{5285946B-0BAF-41C5-BE63-8609876F7A62}" type="presParOf" srcId="{96CB8BE3-B502-4183-8848-7B98DBA5628D}" destId="{656F7DDA-F462-4417-BED8-BA98912911F4}" srcOrd="0" destOrd="0" presId="urn:microsoft.com/office/officeart/2005/8/layout/hierarchy3"/>
    <dgm:cxn modelId="{E9DC195E-FB26-4128-AA8F-75A00EE26092}" type="presParOf" srcId="{96CB8BE3-B502-4183-8848-7B98DBA5628D}" destId="{EFA859C6-8ED0-419D-8792-4D2667836346}" srcOrd="1" destOrd="0" presId="urn:microsoft.com/office/officeart/2005/8/layout/hierarchy3"/>
    <dgm:cxn modelId="{1AA0B316-F58F-4152-BC3A-B00DFB872BE1}" type="presParOf" srcId="{620098F8-E6D8-4B02-BF14-9EE193AA2EB8}" destId="{24F73498-1FD5-4783-8880-13F41B631FDB}" srcOrd="1" destOrd="0" presId="urn:microsoft.com/office/officeart/2005/8/layout/hierarchy3"/>
    <dgm:cxn modelId="{901EB0D8-6003-43C4-BFEF-84D101743DC2}" type="presParOf" srcId="{24F73498-1FD5-4783-8880-13F41B631FDB}" destId="{F15D8469-95AF-4091-B45D-FC8891A24087}" srcOrd="0" destOrd="0" presId="urn:microsoft.com/office/officeart/2005/8/layout/hierarchy3"/>
    <dgm:cxn modelId="{74D2D384-FB41-4A15-9A17-3BD5437995C1}" type="presParOf" srcId="{24F73498-1FD5-4783-8880-13F41B631FDB}" destId="{0F42BC67-BA6E-4E34-B2CB-8DF27897134E}" srcOrd="1" destOrd="0" presId="urn:microsoft.com/office/officeart/2005/8/layout/hierarchy3"/>
    <dgm:cxn modelId="{B117BB5F-BB78-4DB0-9BF5-D05CF7A1771B}" type="presParOf" srcId="{24F73498-1FD5-4783-8880-13F41B631FDB}" destId="{EB583447-D148-48AC-BEF5-90801FC5E089}" srcOrd="2" destOrd="0" presId="urn:microsoft.com/office/officeart/2005/8/layout/hierarchy3"/>
    <dgm:cxn modelId="{56813743-7CA2-47F2-8909-CD6EC9B394D9}" type="presParOf" srcId="{24F73498-1FD5-4783-8880-13F41B631FDB}" destId="{A53E3EFF-51FB-4993-B4A2-704FC1CD5613}" srcOrd="3" destOrd="0" presId="urn:microsoft.com/office/officeart/2005/8/layout/hierarchy3"/>
    <dgm:cxn modelId="{C45703DA-971C-4D3D-8F3E-BA076D916862}" type="presParOf" srcId="{24F73498-1FD5-4783-8880-13F41B631FDB}" destId="{AC5473F3-EB3E-451A-B47E-F7B37066A8EB}" srcOrd="4" destOrd="0" presId="urn:microsoft.com/office/officeart/2005/8/layout/hierarchy3"/>
    <dgm:cxn modelId="{BE2DA237-C351-451D-BD5C-A1A85C4E6183}" type="presParOf" srcId="{24F73498-1FD5-4783-8880-13F41B631FDB}" destId="{8FA745A7-D5B8-47AC-8BE2-05DAF585071A}" srcOrd="5" destOrd="0" presId="urn:microsoft.com/office/officeart/2005/8/layout/hierarchy3"/>
    <dgm:cxn modelId="{587B6DA4-A19E-4D88-A387-AAEF0AF10F15}" type="presParOf" srcId="{24F73498-1FD5-4783-8880-13F41B631FDB}" destId="{8C5B583B-65EC-4FFE-8E52-41A1EF197695}" srcOrd="6" destOrd="0" presId="urn:microsoft.com/office/officeart/2005/8/layout/hierarchy3"/>
    <dgm:cxn modelId="{3F963676-644A-441E-A6DF-A848788CA817}" type="presParOf" srcId="{24F73498-1FD5-4783-8880-13F41B631FDB}" destId="{A5D441FB-9282-4D7C-B50F-2FDD51FF16F3}" srcOrd="7" destOrd="0" presId="urn:microsoft.com/office/officeart/2005/8/layout/hierarchy3"/>
    <dgm:cxn modelId="{AFCFAF40-952E-4D6F-BD53-76799CF668B8}" type="presParOf" srcId="{24F73498-1FD5-4783-8880-13F41B631FDB}" destId="{31E539A1-3E7C-434D-A0F2-45D8AAA400C2}" srcOrd="8" destOrd="0" presId="urn:microsoft.com/office/officeart/2005/8/layout/hierarchy3"/>
    <dgm:cxn modelId="{A44FA996-7EE4-4A2C-BFE5-3E6D66645A8F}" type="presParOf" srcId="{24F73498-1FD5-4783-8880-13F41B631FDB}" destId="{FB9A76C5-E626-49EF-A9BB-744AA169BB20}" srcOrd="9"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8B7002-CDE1-4CDE-837B-4EC5EB3603CF}">
      <dsp:nvSpPr>
        <dsp:cNvPr id="0" name=""/>
        <dsp:cNvSpPr/>
      </dsp:nvSpPr>
      <dsp:spPr>
        <a:xfrm>
          <a:off x="768" y="93320"/>
          <a:ext cx="9269018" cy="15247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l" defTabSz="1600200">
            <a:lnSpc>
              <a:spcPct val="90000"/>
            </a:lnSpc>
            <a:spcBef>
              <a:spcPct val="0"/>
            </a:spcBef>
            <a:spcAft>
              <a:spcPct val="35000"/>
            </a:spcAft>
            <a:buFont typeface="Wingdings" panose="05000000000000000000" pitchFamily="2" charset="2"/>
            <a:buNone/>
          </a:pPr>
          <a:r>
            <a:rPr lang="fr-FR" sz="3600" kern="1200" dirty="0">
              <a:latin typeface="Source Sans Pro" panose="020B0503030403020204" pitchFamily="34" charset="0"/>
              <a:cs typeface="Arial" panose="020B0604020202020204" pitchFamily="34" charset="0"/>
            </a:rPr>
            <a:t>Développer une stratégie de communication du projet sur trois ans (2024-2026) </a:t>
          </a:r>
          <a:endParaRPr lang="en-GB" sz="3600" kern="1200" dirty="0"/>
        </a:p>
      </dsp:txBody>
      <dsp:txXfrm>
        <a:off x="45427" y="137979"/>
        <a:ext cx="9179700" cy="1435463"/>
      </dsp:txXfrm>
    </dsp:sp>
    <dsp:sp modelId="{3D26343A-1B24-4D19-A36D-A3DE587BD4B2}">
      <dsp:nvSpPr>
        <dsp:cNvPr id="0" name=""/>
        <dsp:cNvSpPr/>
      </dsp:nvSpPr>
      <dsp:spPr>
        <a:xfrm>
          <a:off x="927670" y="1618102"/>
          <a:ext cx="926901" cy="881886"/>
        </a:xfrm>
        <a:custGeom>
          <a:avLst/>
          <a:gdLst/>
          <a:ahLst/>
          <a:cxnLst/>
          <a:rect l="0" t="0" r="0" b="0"/>
          <a:pathLst>
            <a:path>
              <a:moveTo>
                <a:pt x="0" y="0"/>
              </a:moveTo>
              <a:lnTo>
                <a:pt x="0" y="881886"/>
              </a:lnTo>
              <a:lnTo>
                <a:pt x="926901" y="88188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4A73F2-223E-4B67-8538-16610AB1C9BB}">
      <dsp:nvSpPr>
        <dsp:cNvPr id="0" name=""/>
        <dsp:cNvSpPr/>
      </dsp:nvSpPr>
      <dsp:spPr>
        <a:xfrm>
          <a:off x="1854572" y="1880187"/>
          <a:ext cx="8338443" cy="123960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35560" rIns="53340" bIns="35560" numCol="1" spcCol="1270" anchor="ctr" anchorCtr="0">
          <a:noAutofit/>
        </a:bodyPr>
        <a:lstStyle/>
        <a:p>
          <a:pPr marL="0" lvl="0" indent="0" algn="l"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Contribuer à créer une </a:t>
          </a:r>
          <a:r>
            <a:rPr lang="fr-FR" sz="2800" kern="1200" dirty="0">
              <a:solidFill>
                <a:srgbClr val="FF0000"/>
              </a:solidFill>
              <a:latin typeface="Arial" panose="020B0604020202020204" pitchFamily="34" charset="0"/>
              <a:cs typeface="Arial" panose="020B0604020202020204" pitchFamily="34" charset="0"/>
            </a:rPr>
            <a:t>meilleure visibilité </a:t>
          </a:r>
          <a:r>
            <a:rPr lang="fr-FR" sz="2800" kern="1200" dirty="0">
              <a:latin typeface="Arial" panose="020B0604020202020204" pitchFamily="34" charset="0"/>
              <a:cs typeface="Arial" panose="020B0604020202020204" pitchFamily="34" charset="0"/>
            </a:rPr>
            <a:t>et à renforcer la </a:t>
          </a:r>
          <a:r>
            <a:rPr lang="fr-FR" sz="2800" kern="1200" dirty="0">
              <a:solidFill>
                <a:srgbClr val="FF0000"/>
              </a:solidFill>
              <a:latin typeface="Arial" panose="020B0604020202020204" pitchFamily="34" charset="0"/>
              <a:cs typeface="Arial" panose="020B0604020202020204" pitchFamily="34" charset="0"/>
            </a:rPr>
            <a:t>sensibilisation</a:t>
          </a:r>
          <a:r>
            <a:rPr lang="fr-FR" sz="2800" kern="1200" dirty="0">
              <a:latin typeface="Arial" panose="020B0604020202020204" pitchFamily="34" charset="0"/>
              <a:cs typeface="Arial" panose="020B0604020202020204" pitchFamily="34" charset="0"/>
            </a:rPr>
            <a:t> et </a:t>
          </a:r>
          <a:r>
            <a:rPr lang="fr-FR" sz="2800" kern="1200" dirty="0">
              <a:solidFill>
                <a:srgbClr val="FF0000"/>
              </a:solidFill>
              <a:latin typeface="Arial" panose="020B0604020202020204" pitchFamily="34" charset="0"/>
              <a:cs typeface="Arial" panose="020B0604020202020204" pitchFamily="34" charset="0"/>
            </a:rPr>
            <a:t>la connaissance du programme WURI</a:t>
          </a:r>
          <a:endParaRPr lang="en-GB" sz="2800" kern="1200" dirty="0"/>
        </a:p>
      </dsp:txBody>
      <dsp:txXfrm>
        <a:off x="1890879" y="1916494"/>
        <a:ext cx="8265829" cy="1166987"/>
      </dsp:txXfrm>
    </dsp:sp>
    <dsp:sp modelId="{79BF4675-9DE6-4320-91FD-058064CE4F39}">
      <dsp:nvSpPr>
        <dsp:cNvPr id="0" name=""/>
        <dsp:cNvSpPr/>
      </dsp:nvSpPr>
      <dsp:spPr>
        <a:xfrm>
          <a:off x="927670" y="1618102"/>
          <a:ext cx="926901" cy="2916130"/>
        </a:xfrm>
        <a:custGeom>
          <a:avLst/>
          <a:gdLst/>
          <a:ahLst/>
          <a:cxnLst/>
          <a:rect l="0" t="0" r="0" b="0"/>
          <a:pathLst>
            <a:path>
              <a:moveTo>
                <a:pt x="0" y="0"/>
              </a:moveTo>
              <a:lnTo>
                <a:pt x="0" y="2916130"/>
              </a:lnTo>
              <a:lnTo>
                <a:pt x="926901" y="29161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D752C38-8813-4036-B54E-EAB98C51A836}">
      <dsp:nvSpPr>
        <dsp:cNvPr id="0" name=""/>
        <dsp:cNvSpPr/>
      </dsp:nvSpPr>
      <dsp:spPr>
        <a:xfrm>
          <a:off x="1854572" y="3381874"/>
          <a:ext cx="8429707" cy="230471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35560" rIns="53340" bIns="35560" numCol="1" spcCol="1270" anchor="ctr" anchorCtr="0">
          <a:noAutofit/>
        </a:bodyPr>
        <a:lstStyle/>
        <a:p>
          <a:pPr marL="0" lvl="0" indent="0" algn="l" defTabSz="1244600">
            <a:lnSpc>
              <a:spcPct val="90000"/>
            </a:lnSpc>
            <a:spcBef>
              <a:spcPct val="0"/>
            </a:spcBef>
            <a:spcAft>
              <a:spcPct val="35000"/>
            </a:spcAft>
            <a:buNone/>
          </a:pPr>
          <a:r>
            <a:rPr lang="fr-FR" sz="2800" kern="1200" dirty="0">
              <a:solidFill>
                <a:srgbClr val="FF0000"/>
              </a:solidFill>
              <a:latin typeface="Arial" panose="020B0604020202020204" pitchFamily="34" charset="0"/>
              <a:cs typeface="Arial" panose="020B0604020202020204" pitchFamily="34" charset="0"/>
            </a:rPr>
            <a:t>Promouvoir la compréhension des parties prenantes </a:t>
          </a:r>
          <a:r>
            <a:rPr lang="fr-FR" sz="2800" kern="1200" dirty="0">
              <a:latin typeface="Arial" panose="020B0604020202020204" pitchFamily="34" charset="0"/>
              <a:cs typeface="Arial" panose="020B0604020202020204" pitchFamily="34" charset="0"/>
            </a:rPr>
            <a:t>concernées dans l'écosystème de l'identification de l'importance d'une approche progressive de l'utilisation des systèmes </a:t>
          </a:r>
          <a:r>
            <a:rPr lang="fr-FR" sz="2800" i="1" kern="1200" dirty="0" err="1">
              <a:latin typeface="Arial" panose="020B0604020202020204" pitchFamily="34" charset="0"/>
              <a:cs typeface="Arial" panose="020B0604020202020204" pitchFamily="34" charset="0"/>
            </a:rPr>
            <a:t>f</a:t>
          </a:r>
          <a:r>
            <a:rPr lang="fr-FR" sz="2800" kern="1200" dirty="0" err="1">
              <a:latin typeface="Arial" panose="020B0604020202020204" pitchFamily="34" charset="0"/>
              <a:cs typeface="Arial" panose="020B0604020202020204" pitchFamily="34" charset="0"/>
            </a:rPr>
            <a:t>ID</a:t>
          </a:r>
          <a:r>
            <a:rPr lang="fr-FR" sz="2800" i="1" kern="1200" dirty="0">
              <a:latin typeface="Arial" panose="020B0604020202020204" pitchFamily="34" charset="0"/>
              <a:cs typeface="Arial" panose="020B0604020202020204" pitchFamily="34" charset="0"/>
            </a:rPr>
            <a:t> </a:t>
          </a:r>
          <a:r>
            <a:rPr lang="fr-FR" sz="2800" kern="1200" dirty="0">
              <a:latin typeface="Arial" panose="020B0604020202020204" pitchFamily="34" charset="0"/>
              <a:cs typeface="Arial" panose="020B0604020202020204" pitchFamily="34" charset="0"/>
            </a:rPr>
            <a:t>pour mettre en œuvre la carte d'identité biométrique nationale de la CEDEAO</a:t>
          </a:r>
          <a:endParaRPr lang="en-GB" sz="2800" kern="1200" dirty="0"/>
        </a:p>
      </dsp:txBody>
      <dsp:txXfrm>
        <a:off x="1922075" y="3449377"/>
        <a:ext cx="8294701" cy="21697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A8814B-FC2E-473B-8296-8DBCC1662536}">
      <dsp:nvSpPr>
        <dsp:cNvPr id="0" name=""/>
        <dsp:cNvSpPr/>
      </dsp:nvSpPr>
      <dsp:spPr>
        <a:xfrm>
          <a:off x="0" y="365515"/>
          <a:ext cx="10827326" cy="4405047"/>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fr-FR" sz="4300" kern="1200" dirty="0">
              <a:latin typeface="Source Sans Pro" panose="020B0503030403020204" pitchFamily="34" charset="0"/>
              <a:cs typeface="Arial" panose="020B0604020202020204" pitchFamily="34" charset="0"/>
            </a:rPr>
            <a:t>La stratégie se concentrera sur les dialogues régionaux et la coopération pour la reconnaissance mutuelle transfrontalière des systèmes d'identification de base pour l'accès aux services</a:t>
          </a:r>
          <a:endParaRPr lang="en-GB" sz="4300" kern="1200" dirty="0"/>
        </a:p>
      </dsp:txBody>
      <dsp:txXfrm>
        <a:off x="215037" y="580552"/>
        <a:ext cx="10397252" cy="3974973"/>
      </dsp:txXfrm>
    </dsp:sp>
    <dsp:sp modelId="{9D1FCBB6-C67C-4B81-9CE2-FB02C53230C1}">
      <dsp:nvSpPr>
        <dsp:cNvPr id="0" name=""/>
        <dsp:cNvSpPr/>
      </dsp:nvSpPr>
      <dsp:spPr>
        <a:xfrm>
          <a:off x="0" y="4770562"/>
          <a:ext cx="10827326"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3768" tIns="54610" rIns="305816" bIns="54610" numCol="1" spcCol="1270" anchor="t" anchorCtr="0">
          <a:noAutofit/>
        </a:bodyPr>
        <a:lstStyle/>
        <a:p>
          <a:pPr marL="285750" lvl="1" indent="-285750" algn="l" defTabSz="1511300">
            <a:lnSpc>
              <a:spcPct val="90000"/>
            </a:lnSpc>
            <a:spcBef>
              <a:spcPct val="0"/>
            </a:spcBef>
            <a:spcAft>
              <a:spcPct val="20000"/>
            </a:spcAft>
            <a:buNone/>
          </a:pPr>
          <a:r>
            <a:rPr lang="fr-FR" sz="3400" kern="1200" dirty="0">
              <a:latin typeface="Source Sans Pro" panose="020B0503030403020204" pitchFamily="34" charset="0"/>
              <a:cs typeface="Arial" panose="020B0604020202020204" pitchFamily="34" charset="0"/>
            </a:rPr>
            <a:t>Mandat de la Commission de la CEDEAO</a:t>
          </a:r>
          <a:endParaRPr lang="en-GB" sz="3400" kern="1200" dirty="0"/>
        </a:p>
      </dsp:txBody>
      <dsp:txXfrm>
        <a:off x="0" y="4770562"/>
        <a:ext cx="10827326" cy="7120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8B7002-CDE1-4CDE-837B-4EC5EB3603CF}">
      <dsp:nvSpPr>
        <dsp:cNvPr id="0" name=""/>
        <dsp:cNvSpPr/>
      </dsp:nvSpPr>
      <dsp:spPr>
        <a:xfrm>
          <a:off x="27612" y="0"/>
          <a:ext cx="9346723" cy="15375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55880" rIns="83820" bIns="55880" numCol="1" spcCol="1270" anchor="ctr" anchorCtr="0">
          <a:noAutofit/>
        </a:bodyPr>
        <a:lstStyle/>
        <a:p>
          <a:pPr marL="0" lvl="0" indent="0" algn="l" defTabSz="1955800">
            <a:lnSpc>
              <a:spcPct val="90000"/>
            </a:lnSpc>
            <a:spcBef>
              <a:spcPct val="0"/>
            </a:spcBef>
            <a:spcAft>
              <a:spcPct val="35000"/>
            </a:spcAft>
            <a:buFont typeface="Wingdings" panose="05000000000000000000" pitchFamily="2" charset="2"/>
            <a:buNone/>
          </a:pPr>
          <a:r>
            <a:rPr lang="fr-FR" sz="4400" b="1" kern="1200" dirty="0">
              <a:latin typeface="Source Sans Pro" panose="020B0503030403020204" pitchFamily="34" charset="0"/>
              <a:cs typeface="Arial" panose="020B0604020202020204" pitchFamily="34" charset="0"/>
            </a:rPr>
            <a:t>15 États membres de la CEDEAO</a:t>
          </a:r>
          <a:endParaRPr lang="en-GB" sz="4400" b="1" kern="1200" dirty="0"/>
        </a:p>
      </dsp:txBody>
      <dsp:txXfrm>
        <a:off x="72646" y="45034"/>
        <a:ext cx="9256655" cy="1447496"/>
      </dsp:txXfrm>
    </dsp:sp>
    <dsp:sp modelId="{3D26343A-1B24-4D19-A36D-A3DE587BD4B2}">
      <dsp:nvSpPr>
        <dsp:cNvPr id="0" name=""/>
        <dsp:cNvSpPr/>
      </dsp:nvSpPr>
      <dsp:spPr>
        <a:xfrm>
          <a:off x="962284" y="1537564"/>
          <a:ext cx="786048" cy="1588295"/>
        </a:xfrm>
        <a:custGeom>
          <a:avLst/>
          <a:gdLst/>
          <a:ahLst/>
          <a:cxnLst/>
          <a:rect l="0" t="0" r="0" b="0"/>
          <a:pathLst>
            <a:path>
              <a:moveTo>
                <a:pt x="0" y="0"/>
              </a:moveTo>
              <a:lnTo>
                <a:pt x="0" y="1588295"/>
              </a:lnTo>
              <a:lnTo>
                <a:pt x="786048" y="1588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4A73F2-223E-4B67-8538-16610AB1C9BB}">
      <dsp:nvSpPr>
        <dsp:cNvPr id="0" name=""/>
        <dsp:cNvSpPr/>
      </dsp:nvSpPr>
      <dsp:spPr>
        <a:xfrm>
          <a:off x="1748332" y="2072059"/>
          <a:ext cx="8408346" cy="21076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45720" rIns="68580" bIns="45720" numCol="1" spcCol="1270" anchor="ctr" anchorCtr="0">
          <a:noAutofit/>
        </a:bodyPr>
        <a:lstStyle/>
        <a:p>
          <a:pPr marL="0" lvl="0" indent="0" algn="l" defTabSz="1600200">
            <a:lnSpc>
              <a:spcPct val="90000"/>
            </a:lnSpc>
            <a:spcBef>
              <a:spcPct val="0"/>
            </a:spcBef>
            <a:spcAft>
              <a:spcPct val="35000"/>
            </a:spcAft>
            <a:buNone/>
          </a:pPr>
          <a:r>
            <a:rPr lang="fr-FR" sz="3600" kern="1200" dirty="0">
              <a:latin typeface="Source Sans Pro" panose="020B0503030403020204" pitchFamily="34" charset="0"/>
              <a:cs typeface="Arial" panose="020B0604020202020204" pitchFamily="34" charset="0"/>
            </a:rPr>
            <a:t>États membres WURI : </a:t>
          </a:r>
          <a:r>
            <a:rPr lang="fr-FR" sz="3600" b="1" kern="1200" dirty="0">
              <a:latin typeface="Source Sans Pro" panose="020B0503030403020204" pitchFamily="34" charset="0"/>
              <a:cs typeface="Arial" panose="020B0604020202020204" pitchFamily="34" charset="0"/>
            </a:rPr>
            <a:t>Bénin, Burkina Faso, Côte d'Ivoire, Guinée, Niger et Togo</a:t>
          </a:r>
          <a:endParaRPr lang="en-GB" sz="3600" kern="1200" dirty="0"/>
        </a:p>
      </dsp:txBody>
      <dsp:txXfrm>
        <a:off x="1810061" y="2133788"/>
        <a:ext cx="8284888" cy="1984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4F8987-0D21-44E1-8A6D-132236D00D7A}">
      <dsp:nvSpPr>
        <dsp:cNvPr id="0" name=""/>
        <dsp:cNvSpPr/>
      </dsp:nvSpPr>
      <dsp:spPr>
        <a:xfrm>
          <a:off x="0" y="714345"/>
          <a:ext cx="10931237" cy="12096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4B96D9-EFF7-404D-9482-0DD697680AA8}">
      <dsp:nvSpPr>
        <dsp:cNvPr id="0" name=""/>
        <dsp:cNvSpPr/>
      </dsp:nvSpPr>
      <dsp:spPr>
        <a:xfrm>
          <a:off x="546561" y="5865"/>
          <a:ext cx="9543024" cy="14169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222" tIns="0" rIns="289222" bIns="0" numCol="1" spcCol="1270" anchor="ctr" anchorCtr="0">
          <a:noAutofit/>
        </a:bodyPr>
        <a:lstStyle/>
        <a:p>
          <a:pPr marL="0" lvl="0" indent="0" algn="l" defTabSz="1244600">
            <a:lnSpc>
              <a:spcPct val="90000"/>
            </a:lnSpc>
            <a:spcBef>
              <a:spcPct val="0"/>
            </a:spcBef>
            <a:spcAft>
              <a:spcPct val="35000"/>
            </a:spcAft>
            <a:buNone/>
          </a:pPr>
          <a:r>
            <a:rPr lang="fr-FR" sz="2800" kern="1200" dirty="0">
              <a:latin typeface="Source Sans Pro" panose="020B0503030403020204" pitchFamily="34" charset="0"/>
              <a:cs typeface="Arial" panose="020B0604020202020204" pitchFamily="34" charset="0"/>
            </a:rPr>
            <a:t>Parties prenantes et les acteurs étatiques et non étatiques opérant dans l'écosystème d'identification de base fonctionnelle, public et privé dans les six (6) pays</a:t>
          </a:r>
          <a:endParaRPr lang="en-GB" sz="2800" kern="1200" dirty="0">
            <a:latin typeface="Source Sans Pro" panose="020B0503030403020204" pitchFamily="34" charset="0"/>
          </a:endParaRPr>
        </a:p>
      </dsp:txBody>
      <dsp:txXfrm>
        <a:off x="615731" y="75035"/>
        <a:ext cx="9404684" cy="1278620"/>
      </dsp:txXfrm>
    </dsp:sp>
    <dsp:sp modelId="{6295785C-E200-40EE-B131-46BE1A2F13DA}">
      <dsp:nvSpPr>
        <dsp:cNvPr id="0" name=""/>
        <dsp:cNvSpPr/>
      </dsp:nvSpPr>
      <dsp:spPr>
        <a:xfrm>
          <a:off x="0" y="2891625"/>
          <a:ext cx="10931237" cy="1209600"/>
        </a:xfrm>
        <a:prstGeom prst="rect">
          <a:avLst/>
        </a:prstGeom>
        <a:solidFill>
          <a:schemeClr val="lt1">
            <a:alpha val="90000"/>
            <a:hueOff val="0"/>
            <a:satOff val="0"/>
            <a:lumOff val="0"/>
            <a:alphaOff val="0"/>
          </a:schemeClr>
        </a:solidFill>
        <a:ln w="12700" cap="flat" cmpd="sng" algn="ctr">
          <a:solidFill>
            <a:schemeClr val="accent5">
              <a:hueOff val="-3379271"/>
              <a:satOff val="-8710"/>
              <a:lumOff val="-5883"/>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F78437-79FD-4DF0-875B-E2DC6EF6E1B0}">
      <dsp:nvSpPr>
        <dsp:cNvPr id="0" name=""/>
        <dsp:cNvSpPr/>
      </dsp:nvSpPr>
      <dsp:spPr>
        <a:xfrm>
          <a:off x="546561" y="2183145"/>
          <a:ext cx="9709223" cy="1416960"/>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222" tIns="0" rIns="289222" bIns="0" numCol="1" spcCol="1270" anchor="ctr" anchorCtr="0">
          <a:noAutofit/>
        </a:bodyPr>
        <a:lstStyle/>
        <a:p>
          <a:pPr marL="0" lvl="0" indent="0" algn="l" defTabSz="1244600">
            <a:lnSpc>
              <a:spcPct val="90000"/>
            </a:lnSpc>
            <a:spcBef>
              <a:spcPct val="0"/>
            </a:spcBef>
            <a:spcAft>
              <a:spcPct val="35000"/>
            </a:spcAft>
            <a:buNone/>
          </a:pPr>
          <a:r>
            <a:rPr lang="fr-FR" sz="2800" kern="1200" dirty="0">
              <a:latin typeface="Source Sans Pro" panose="020B0503030403020204" pitchFamily="34" charset="0"/>
              <a:cs typeface="Arial" panose="020B0604020202020204" pitchFamily="34" charset="0"/>
            </a:rPr>
            <a:t>Bénéficiaires des projets qui sont les ressortissants résidents de chaque pays et ceux à l'étranger, y compris les non-nationaux vivant dans chaque pays </a:t>
          </a:r>
        </a:p>
      </dsp:txBody>
      <dsp:txXfrm>
        <a:off x="615731" y="2252315"/>
        <a:ext cx="9570883" cy="1278620"/>
      </dsp:txXfrm>
    </dsp:sp>
    <dsp:sp modelId="{B7BDB0B6-96AB-45CD-B25E-AA1ED864B56B}">
      <dsp:nvSpPr>
        <dsp:cNvPr id="0" name=""/>
        <dsp:cNvSpPr/>
      </dsp:nvSpPr>
      <dsp:spPr>
        <a:xfrm>
          <a:off x="0" y="5068905"/>
          <a:ext cx="10931237" cy="12096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25B2DA-20EF-430F-A665-7DCE6A1C310F}">
      <dsp:nvSpPr>
        <dsp:cNvPr id="0" name=""/>
        <dsp:cNvSpPr/>
      </dsp:nvSpPr>
      <dsp:spPr>
        <a:xfrm>
          <a:off x="546561" y="4360425"/>
          <a:ext cx="9917124" cy="141696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222" tIns="0" rIns="289222" bIns="0" numCol="1" spcCol="1270" anchor="ctr" anchorCtr="0">
          <a:noAutofit/>
        </a:bodyPr>
        <a:lstStyle/>
        <a:p>
          <a:pPr marL="0" lvl="0" indent="0" algn="l" defTabSz="1244600">
            <a:lnSpc>
              <a:spcPct val="90000"/>
            </a:lnSpc>
            <a:spcBef>
              <a:spcPct val="0"/>
            </a:spcBef>
            <a:spcAft>
              <a:spcPct val="35000"/>
            </a:spcAft>
            <a:buNone/>
          </a:pPr>
          <a:r>
            <a:rPr lang="fr-FR" sz="2800" kern="1200" dirty="0">
              <a:latin typeface="Source Sans Pro" panose="020B0503030403020204" pitchFamily="34" charset="0"/>
              <a:cs typeface="Arial" panose="020B0604020202020204" pitchFamily="34" charset="0"/>
            </a:rPr>
            <a:t>Autres parties prenantes sous régionales et continentales telles que l'Union économique et monétaire ouest-africaine et l'Union Africaine, respectivement</a:t>
          </a:r>
          <a:r>
            <a:rPr lang="fr-FR" sz="2800" b="1" kern="1200" dirty="0">
              <a:latin typeface="Source Sans Pro" panose="020B0503030403020204" pitchFamily="34" charset="0"/>
              <a:cs typeface="Arial" panose="020B0604020202020204" pitchFamily="34" charset="0"/>
            </a:rPr>
            <a:t> </a:t>
          </a:r>
        </a:p>
      </dsp:txBody>
      <dsp:txXfrm>
        <a:off x="615731" y="4429595"/>
        <a:ext cx="9778784" cy="12786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7E46B-8244-4D36-A7DF-5CBE06C1D1B2}">
      <dsp:nvSpPr>
        <dsp:cNvPr id="0" name=""/>
        <dsp:cNvSpPr/>
      </dsp:nvSpPr>
      <dsp:spPr>
        <a:xfrm>
          <a:off x="-6412048" y="-980748"/>
          <a:ext cx="7632128" cy="7632128"/>
        </a:xfrm>
        <a:prstGeom prst="blockArc">
          <a:avLst>
            <a:gd name="adj1" fmla="val 18900000"/>
            <a:gd name="adj2" fmla="val 2700000"/>
            <a:gd name="adj3" fmla="val 283"/>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A976E7-85E5-4BA2-8A1B-0889952993F2}">
      <dsp:nvSpPr>
        <dsp:cNvPr id="0" name=""/>
        <dsp:cNvSpPr/>
      </dsp:nvSpPr>
      <dsp:spPr>
        <a:xfrm>
          <a:off x="638474" y="435958"/>
          <a:ext cx="10387548" cy="87236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444" tIns="71120" rIns="71120" bIns="71120" numCol="1" spcCol="1270" anchor="ctr" anchorCtr="0">
          <a:noAutofit/>
        </a:bodyPr>
        <a:lstStyle/>
        <a:p>
          <a:pPr marL="0" lvl="0" indent="0" algn="l" defTabSz="1244600">
            <a:lnSpc>
              <a:spcPct val="90000"/>
            </a:lnSpc>
            <a:spcBef>
              <a:spcPct val="0"/>
            </a:spcBef>
            <a:spcAft>
              <a:spcPct val="35000"/>
            </a:spcAft>
            <a:buNone/>
          </a:pPr>
          <a:r>
            <a:rPr lang="fr-FR" sz="2800" b="1" kern="1200" dirty="0">
              <a:latin typeface="Source Sans Pro" panose="020B0503030403020204" pitchFamily="34" charset="0"/>
              <a:cs typeface="Arial" panose="020B0604020202020204" pitchFamily="34" charset="0"/>
            </a:rPr>
            <a:t>Phase 1 : Préparation de la mission</a:t>
          </a:r>
          <a:endParaRPr lang="en-GB" sz="2800" kern="1200" dirty="0">
            <a:latin typeface="Source Sans Pro" panose="020B0503030403020204" pitchFamily="34" charset="0"/>
          </a:endParaRPr>
        </a:p>
      </dsp:txBody>
      <dsp:txXfrm>
        <a:off x="638474" y="435958"/>
        <a:ext cx="10387548" cy="872369"/>
      </dsp:txXfrm>
    </dsp:sp>
    <dsp:sp modelId="{9B61E243-E720-4A3D-ADA7-B7F4CAAEE058}">
      <dsp:nvSpPr>
        <dsp:cNvPr id="0" name=""/>
        <dsp:cNvSpPr/>
      </dsp:nvSpPr>
      <dsp:spPr>
        <a:xfrm>
          <a:off x="93243" y="326911"/>
          <a:ext cx="1090462" cy="1090462"/>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8F826F-B1ED-405F-9CE5-9F7385E0C4AC}">
      <dsp:nvSpPr>
        <dsp:cNvPr id="0" name=""/>
        <dsp:cNvSpPr/>
      </dsp:nvSpPr>
      <dsp:spPr>
        <a:xfrm>
          <a:off x="1138624" y="1744739"/>
          <a:ext cx="9887399" cy="87236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444" tIns="71120" rIns="71120" bIns="71120" numCol="1" spcCol="1270" anchor="ctr" anchorCtr="0">
          <a:noAutofit/>
        </a:bodyPr>
        <a:lstStyle/>
        <a:p>
          <a:pPr marL="0" lvl="0" indent="0" algn="l" defTabSz="1244600">
            <a:lnSpc>
              <a:spcPct val="90000"/>
            </a:lnSpc>
            <a:spcBef>
              <a:spcPct val="0"/>
            </a:spcBef>
            <a:spcAft>
              <a:spcPct val="35000"/>
            </a:spcAft>
            <a:buNone/>
          </a:pPr>
          <a:r>
            <a:rPr lang="fr-FR" sz="2800" b="1" kern="1200" dirty="0">
              <a:solidFill>
                <a:schemeClr val="tx1"/>
              </a:solidFill>
              <a:latin typeface="Source Sans Pro" panose="020B0503030403020204" pitchFamily="34" charset="0"/>
              <a:cs typeface="Arial" panose="020B0604020202020204" pitchFamily="34" charset="0"/>
            </a:rPr>
            <a:t>Phase 2 : Diagnostic de communication/état des lieux</a:t>
          </a:r>
        </a:p>
      </dsp:txBody>
      <dsp:txXfrm>
        <a:off x="1138624" y="1744739"/>
        <a:ext cx="9887399" cy="872369"/>
      </dsp:txXfrm>
    </dsp:sp>
    <dsp:sp modelId="{B5C1DD66-FF44-4D8B-8DEA-6166924FF5EC}">
      <dsp:nvSpPr>
        <dsp:cNvPr id="0" name=""/>
        <dsp:cNvSpPr/>
      </dsp:nvSpPr>
      <dsp:spPr>
        <a:xfrm>
          <a:off x="593392" y="1635693"/>
          <a:ext cx="1090462" cy="1090462"/>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C6A005-91AA-42CD-86AE-799447E4D6A5}">
      <dsp:nvSpPr>
        <dsp:cNvPr id="0" name=""/>
        <dsp:cNvSpPr/>
      </dsp:nvSpPr>
      <dsp:spPr>
        <a:xfrm>
          <a:off x="1138624" y="3053521"/>
          <a:ext cx="9887399" cy="872369"/>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444" tIns="71120" rIns="71120" bIns="71120" numCol="1" spcCol="1270" anchor="ctr" anchorCtr="0">
          <a:noAutofit/>
        </a:bodyPr>
        <a:lstStyle/>
        <a:p>
          <a:pPr marL="0" lvl="0" indent="0" algn="l" defTabSz="1244600">
            <a:lnSpc>
              <a:spcPct val="90000"/>
            </a:lnSpc>
            <a:spcBef>
              <a:spcPct val="0"/>
            </a:spcBef>
            <a:spcAft>
              <a:spcPct val="35000"/>
            </a:spcAft>
            <a:buNone/>
          </a:pPr>
          <a:r>
            <a:rPr lang="fr-FR" sz="2800" b="1" kern="1200" dirty="0">
              <a:solidFill>
                <a:schemeClr val="tx1"/>
              </a:solidFill>
              <a:latin typeface="Source Sans Pro" panose="020B0503030403020204" pitchFamily="34" charset="0"/>
              <a:cs typeface="Arial" panose="020B0604020202020204" pitchFamily="34" charset="0"/>
            </a:rPr>
            <a:t>Phase 3 : Elaboration des messages et Formulation de la stratégie de communication </a:t>
          </a:r>
        </a:p>
      </dsp:txBody>
      <dsp:txXfrm>
        <a:off x="1138624" y="3053521"/>
        <a:ext cx="9887399" cy="872369"/>
      </dsp:txXfrm>
    </dsp:sp>
    <dsp:sp modelId="{E5D06FA6-93FF-41AC-B613-BD9401B906F9}">
      <dsp:nvSpPr>
        <dsp:cNvPr id="0" name=""/>
        <dsp:cNvSpPr/>
      </dsp:nvSpPr>
      <dsp:spPr>
        <a:xfrm>
          <a:off x="593392" y="2944475"/>
          <a:ext cx="1090462" cy="1090462"/>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5E1E908-8277-4511-85D5-1C62B9B307A0}">
      <dsp:nvSpPr>
        <dsp:cNvPr id="0" name=""/>
        <dsp:cNvSpPr/>
      </dsp:nvSpPr>
      <dsp:spPr>
        <a:xfrm>
          <a:off x="638474" y="4362303"/>
          <a:ext cx="10387548" cy="872369"/>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444" tIns="71120" rIns="71120" bIns="71120" numCol="1" spcCol="1270" anchor="ctr" anchorCtr="0">
          <a:noAutofit/>
        </a:bodyPr>
        <a:lstStyle/>
        <a:p>
          <a:pPr marL="0" lvl="0" indent="0" algn="l" defTabSz="1244600">
            <a:lnSpc>
              <a:spcPct val="90000"/>
            </a:lnSpc>
            <a:spcBef>
              <a:spcPct val="0"/>
            </a:spcBef>
            <a:spcAft>
              <a:spcPct val="35000"/>
            </a:spcAft>
            <a:buNone/>
          </a:pPr>
          <a:r>
            <a:rPr lang="fr-FR" sz="2800" b="1" kern="1200" dirty="0">
              <a:latin typeface="Source Sans Pro" panose="020B0503030403020204" pitchFamily="34" charset="0"/>
              <a:cs typeface="Arial" panose="020B0604020202020204" pitchFamily="34" charset="0"/>
            </a:rPr>
            <a:t>Phase 4 : Restitution, validation et soumission des documents finaux</a:t>
          </a:r>
        </a:p>
      </dsp:txBody>
      <dsp:txXfrm>
        <a:off x="638474" y="4362303"/>
        <a:ext cx="10387548" cy="872369"/>
      </dsp:txXfrm>
    </dsp:sp>
    <dsp:sp modelId="{4426B621-5F04-4C83-90B9-ED38AA90CB15}">
      <dsp:nvSpPr>
        <dsp:cNvPr id="0" name=""/>
        <dsp:cNvSpPr/>
      </dsp:nvSpPr>
      <dsp:spPr>
        <a:xfrm>
          <a:off x="93243" y="4253256"/>
          <a:ext cx="1090462" cy="1090462"/>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F7DDA-F462-4417-BED8-BA98912911F4}">
      <dsp:nvSpPr>
        <dsp:cNvPr id="0" name=""/>
        <dsp:cNvSpPr/>
      </dsp:nvSpPr>
      <dsp:spPr>
        <a:xfrm>
          <a:off x="4072" y="166305"/>
          <a:ext cx="9532459" cy="106937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60960" rIns="91440" bIns="60960" numCol="1" spcCol="1270" anchor="ctr" anchorCtr="0">
          <a:noAutofit/>
        </a:bodyPr>
        <a:lstStyle/>
        <a:p>
          <a:pPr marL="0" lvl="0" indent="0" algn="l" defTabSz="2133600">
            <a:lnSpc>
              <a:spcPct val="90000"/>
            </a:lnSpc>
            <a:spcBef>
              <a:spcPct val="0"/>
            </a:spcBef>
            <a:spcAft>
              <a:spcPct val="35000"/>
            </a:spcAft>
            <a:buNone/>
          </a:pPr>
          <a:r>
            <a:rPr lang="fr-FR" sz="4800" kern="1200" dirty="0">
              <a:latin typeface="Source Sans Pro" panose="020B0503030403020204" pitchFamily="34" charset="0"/>
              <a:cs typeface="Arial" panose="020B0604020202020204" pitchFamily="34" charset="0"/>
            </a:rPr>
            <a:t>Prochaines étapes</a:t>
          </a:r>
        </a:p>
      </dsp:txBody>
      <dsp:txXfrm>
        <a:off x="35393" y="197626"/>
        <a:ext cx="9469817" cy="1006732"/>
      </dsp:txXfrm>
    </dsp:sp>
    <dsp:sp modelId="{F15D8469-95AF-4091-B45D-FC8891A24087}">
      <dsp:nvSpPr>
        <dsp:cNvPr id="0" name=""/>
        <dsp:cNvSpPr/>
      </dsp:nvSpPr>
      <dsp:spPr>
        <a:xfrm>
          <a:off x="957318" y="1235679"/>
          <a:ext cx="953245" cy="535851"/>
        </a:xfrm>
        <a:custGeom>
          <a:avLst/>
          <a:gdLst/>
          <a:ahLst/>
          <a:cxnLst/>
          <a:rect l="0" t="0" r="0" b="0"/>
          <a:pathLst>
            <a:path>
              <a:moveTo>
                <a:pt x="0" y="0"/>
              </a:moveTo>
              <a:lnTo>
                <a:pt x="0" y="535851"/>
              </a:lnTo>
              <a:lnTo>
                <a:pt x="953245" y="53585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42BC67-BA6E-4E34-B2CB-8DF27897134E}">
      <dsp:nvSpPr>
        <dsp:cNvPr id="0" name=""/>
        <dsp:cNvSpPr/>
      </dsp:nvSpPr>
      <dsp:spPr>
        <a:xfrm>
          <a:off x="1910564" y="1414296"/>
          <a:ext cx="7802355" cy="71446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40640" rIns="60960" bIns="40640" numCol="1" spcCol="1270" anchor="ctr" anchorCtr="0">
          <a:noAutofit/>
        </a:bodyPr>
        <a:lstStyle/>
        <a:p>
          <a:pPr marL="0" lvl="0" indent="0" algn="l" defTabSz="1422400">
            <a:lnSpc>
              <a:spcPct val="90000"/>
            </a:lnSpc>
            <a:spcBef>
              <a:spcPct val="0"/>
            </a:spcBef>
            <a:spcAft>
              <a:spcPct val="35000"/>
            </a:spcAft>
            <a:buNone/>
          </a:pPr>
          <a:r>
            <a:rPr lang="fr-FR" sz="3200" kern="1200" dirty="0">
              <a:latin typeface="Source Sans Pro" panose="020B0503030403020204" pitchFamily="34" charset="0"/>
              <a:cs typeface="Arial" panose="020B0604020202020204" pitchFamily="34" charset="0"/>
            </a:rPr>
            <a:t>Réaliser les autres entretiens</a:t>
          </a:r>
        </a:p>
      </dsp:txBody>
      <dsp:txXfrm>
        <a:off x="1931490" y="1435222"/>
        <a:ext cx="7760503" cy="672616"/>
      </dsp:txXfrm>
    </dsp:sp>
    <dsp:sp modelId="{EB583447-D148-48AC-BEF5-90801FC5E089}">
      <dsp:nvSpPr>
        <dsp:cNvPr id="0" name=""/>
        <dsp:cNvSpPr/>
      </dsp:nvSpPr>
      <dsp:spPr>
        <a:xfrm>
          <a:off x="957318" y="1235679"/>
          <a:ext cx="953245" cy="1428937"/>
        </a:xfrm>
        <a:custGeom>
          <a:avLst/>
          <a:gdLst/>
          <a:ahLst/>
          <a:cxnLst/>
          <a:rect l="0" t="0" r="0" b="0"/>
          <a:pathLst>
            <a:path>
              <a:moveTo>
                <a:pt x="0" y="0"/>
              </a:moveTo>
              <a:lnTo>
                <a:pt x="0" y="1428937"/>
              </a:lnTo>
              <a:lnTo>
                <a:pt x="953245" y="142893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3E3EFF-51FB-4993-B4A2-704FC1CD5613}">
      <dsp:nvSpPr>
        <dsp:cNvPr id="0" name=""/>
        <dsp:cNvSpPr/>
      </dsp:nvSpPr>
      <dsp:spPr>
        <a:xfrm>
          <a:off x="1910564" y="2307382"/>
          <a:ext cx="8146534" cy="71446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40640" rIns="60960" bIns="40640" numCol="1" spcCol="1270" anchor="ctr" anchorCtr="0">
          <a:noAutofit/>
        </a:bodyPr>
        <a:lstStyle/>
        <a:p>
          <a:pPr marL="0" lvl="0" indent="0" algn="l" defTabSz="1422400">
            <a:lnSpc>
              <a:spcPct val="90000"/>
            </a:lnSpc>
            <a:spcBef>
              <a:spcPct val="0"/>
            </a:spcBef>
            <a:spcAft>
              <a:spcPct val="35000"/>
            </a:spcAft>
            <a:buNone/>
          </a:pPr>
          <a:r>
            <a:rPr lang="fr-FR" sz="3200" kern="1200" dirty="0">
              <a:latin typeface="Source Sans Pro" panose="020B0503030403020204" pitchFamily="34" charset="0"/>
              <a:cs typeface="Arial" panose="020B0604020202020204" pitchFamily="34" charset="0"/>
            </a:rPr>
            <a:t>Finaliser l’élaboration de la stratégie</a:t>
          </a:r>
        </a:p>
      </dsp:txBody>
      <dsp:txXfrm>
        <a:off x="1931490" y="2328308"/>
        <a:ext cx="8104682" cy="672616"/>
      </dsp:txXfrm>
    </dsp:sp>
    <dsp:sp modelId="{AC5473F3-EB3E-451A-B47E-F7B37066A8EB}">
      <dsp:nvSpPr>
        <dsp:cNvPr id="0" name=""/>
        <dsp:cNvSpPr/>
      </dsp:nvSpPr>
      <dsp:spPr>
        <a:xfrm>
          <a:off x="957318" y="1235679"/>
          <a:ext cx="953245" cy="2322024"/>
        </a:xfrm>
        <a:custGeom>
          <a:avLst/>
          <a:gdLst/>
          <a:ahLst/>
          <a:cxnLst/>
          <a:rect l="0" t="0" r="0" b="0"/>
          <a:pathLst>
            <a:path>
              <a:moveTo>
                <a:pt x="0" y="0"/>
              </a:moveTo>
              <a:lnTo>
                <a:pt x="0" y="2322024"/>
              </a:lnTo>
              <a:lnTo>
                <a:pt x="953245" y="23220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A745A7-D5B8-47AC-8BE2-05DAF585071A}">
      <dsp:nvSpPr>
        <dsp:cNvPr id="0" name=""/>
        <dsp:cNvSpPr/>
      </dsp:nvSpPr>
      <dsp:spPr>
        <a:xfrm>
          <a:off x="1910564" y="3200468"/>
          <a:ext cx="8431705" cy="71446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40640" rIns="60960" bIns="40640" numCol="1" spcCol="1270" anchor="ctr" anchorCtr="0">
          <a:noAutofit/>
        </a:bodyPr>
        <a:lstStyle/>
        <a:p>
          <a:pPr marL="0" lvl="0" indent="0" algn="l" defTabSz="1422400">
            <a:lnSpc>
              <a:spcPct val="90000"/>
            </a:lnSpc>
            <a:spcBef>
              <a:spcPct val="0"/>
            </a:spcBef>
            <a:spcAft>
              <a:spcPct val="35000"/>
            </a:spcAft>
            <a:buNone/>
          </a:pPr>
          <a:r>
            <a:rPr lang="fr-FR" sz="3200" kern="1200" dirty="0">
              <a:latin typeface="Source Sans Pro" panose="020B0503030403020204" pitchFamily="34" charset="0"/>
              <a:cs typeface="Arial" panose="020B0604020202020204" pitchFamily="34" charset="0"/>
            </a:rPr>
            <a:t>Organiser un atelier régional de validation</a:t>
          </a:r>
        </a:p>
      </dsp:txBody>
      <dsp:txXfrm>
        <a:off x="1931490" y="3221394"/>
        <a:ext cx="8389853" cy="672616"/>
      </dsp:txXfrm>
    </dsp:sp>
    <dsp:sp modelId="{8C5B583B-65EC-4FFE-8E52-41A1EF197695}">
      <dsp:nvSpPr>
        <dsp:cNvPr id="0" name=""/>
        <dsp:cNvSpPr/>
      </dsp:nvSpPr>
      <dsp:spPr>
        <a:xfrm>
          <a:off x="957318" y="1235679"/>
          <a:ext cx="953245" cy="3404980"/>
        </a:xfrm>
        <a:custGeom>
          <a:avLst/>
          <a:gdLst/>
          <a:ahLst/>
          <a:cxnLst/>
          <a:rect l="0" t="0" r="0" b="0"/>
          <a:pathLst>
            <a:path>
              <a:moveTo>
                <a:pt x="0" y="0"/>
              </a:moveTo>
              <a:lnTo>
                <a:pt x="0" y="3404980"/>
              </a:lnTo>
              <a:lnTo>
                <a:pt x="953245" y="340498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D441FB-9282-4D7C-B50F-2FDD51FF16F3}">
      <dsp:nvSpPr>
        <dsp:cNvPr id="0" name=""/>
        <dsp:cNvSpPr/>
      </dsp:nvSpPr>
      <dsp:spPr>
        <a:xfrm>
          <a:off x="1910564" y="4093555"/>
          <a:ext cx="8569443" cy="109420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40640" rIns="60960" bIns="40640" numCol="1" spcCol="1270" anchor="ctr" anchorCtr="0">
          <a:noAutofit/>
        </a:bodyPr>
        <a:lstStyle/>
        <a:p>
          <a:pPr marL="0" lvl="0" indent="0" algn="l" defTabSz="1422400">
            <a:lnSpc>
              <a:spcPct val="90000"/>
            </a:lnSpc>
            <a:spcBef>
              <a:spcPct val="0"/>
            </a:spcBef>
            <a:spcAft>
              <a:spcPct val="35000"/>
            </a:spcAft>
            <a:buNone/>
          </a:pPr>
          <a:r>
            <a:rPr lang="fr-FR" sz="3200" kern="1200" dirty="0">
              <a:latin typeface="Source Sans Pro" panose="020B0503030403020204" pitchFamily="34" charset="0"/>
              <a:cs typeface="Arial" panose="020B0604020202020204" pitchFamily="34" charset="0"/>
            </a:rPr>
            <a:t>Prendre en compte les feedbacks et finaliser la stratégie</a:t>
          </a:r>
        </a:p>
      </dsp:txBody>
      <dsp:txXfrm>
        <a:off x="1942612" y="4125603"/>
        <a:ext cx="8505347" cy="1030113"/>
      </dsp:txXfrm>
    </dsp:sp>
    <dsp:sp modelId="{31E539A1-3E7C-434D-A0F2-45D8AAA400C2}">
      <dsp:nvSpPr>
        <dsp:cNvPr id="0" name=""/>
        <dsp:cNvSpPr/>
      </dsp:nvSpPr>
      <dsp:spPr>
        <a:xfrm>
          <a:off x="957318" y="1235679"/>
          <a:ext cx="953245" cy="4710129"/>
        </a:xfrm>
        <a:custGeom>
          <a:avLst/>
          <a:gdLst/>
          <a:ahLst/>
          <a:cxnLst/>
          <a:rect l="0" t="0" r="0" b="0"/>
          <a:pathLst>
            <a:path>
              <a:moveTo>
                <a:pt x="0" y="0"/>
              </a:moveTo>
              <a:lnTo>
                <a:pt x="0" y="4710129"/>
              </a:lnTo>
              <a:lnTo>
                <a:pt x="953245" y="471012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B9A76C5-E626-49EF-A9BB-744AA169BB20}">
      <dsp:nvSpPr>
        <dsp:cNvPr id="0" name=""/>
        <dsp:cNvSpPr/>
      </dsp:nvSpPr>
      <dsp:spPr>
        <a:xfrm>
          <a:off x="1910564" y="5366381"/>
          <a:ext cx="8746437" cy="11588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40640" rIns="60960" bIns="40640" numCol="1" spcCol="1270" anchor="ctr" anchorCtr="0">
          <a:noAutofit/>
        </a:bodyPr>
        <a:lstStyle/>
        <a:p>
          <a:pPr marL="0" lvl="0" indent="0" algn="l" defTabSz="1422400">
            <a:lnSpc>
              <a:spcPct val="90000"/>
            </a:lnSpc>
            <a:spcBef>
              <a:spcPct val="0"/>
            </a:spcBef>
            <a:spcAft>
              <a:spcPct val="35000"/>
            </a:spcAft>
            <a:buNone/>
          </a:pPr>
          <a:r>
            <a:rPr lang="fr-FR" sz="3200" kern="1200" dirty="0">
              <a:latin typeface="Source Sans Pro" panose="020B0503030403020204" pitchFamily="34" charset="0"/>
              <a:cs typeface="Arial" panose="020B0604020202020204" pitchFamily="34" charset="0"/>
            </a:rPr>
            <a:t>Soumettre le document de stratégie de communication finalisé.</a:t>
          </a:r>
        </a:p>
      </dsp:txBody>
      <dsp:txXfrm>
        <a:off x="1944506" y="5400323"/>
        <a:ext cx="8678553" cy="109097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302231" cy="341064"/>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623697" y="2"/>
            <a:ext cx="4302231" cy="341064"/>
          </a:xfrm>
          <a:prstGeom prst="rect">
            <a:avLst/>
          </a:prstGeom>
        </p:spPr>
        <p:txBody>
          <a:bodyPr vert="horz" lIns="91440" tIns="45720" rIns="91440" bIns="45720" rtlCol="0"/>
          <a:lstStyle>
            <a:lvl1pPr algn="r">
              <a:defRPr sz="1200"/>
            </a:lvl1pPr>
          </a:lstStyle>
          <a:p>
            <a:fld id="{6053B0EF-6CB7-4A6E-9243-007BF2C7D7CF}" type="datetime1">
              <a:rPr lang="en-GB" smtClean="0"/>
              <a:t>16/05/2024</a:t>
            </a:fld>
            <a:endParaRPr lang="en-GB"/>
          </a:p>
        </p:txBody>
      </p:sp>
      <p:sp>
        <p:nvSpPr>
          <p:cNvPr id="4" name="Footer Placeholder 3"/>
          <p:cNvSpPr>
            <a:spLocks noGrp="1"/>
          </p:cNvSpPr>
          <p:nvPr>
            <p:ph type="ftr" sz="quarter" idx="2"/>
          </p:nvPr>
        </p:nvSpPr>
        <p:spPr>
          <a:xfrm>
            <a:off x="0" y="6456612"/>
            <a:ext cx="4302231" cy="34106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623697" y="6456612"/>
            <a:ext cx="4302231" cy="341063"/>
          </a:xfrm>
          <a:prstGeom prst="rect">
            <a:avLst/>
          </a:prstGeom>
        </p:spPr>
        <p:txBody>
          <a:bodyPr vert="horz" lIns="91440" tIns="45720" rIns="91440" bIns="45720" rtlCol="0" anchor="b"/>
          <a:lstStyle>
            <a:lvl1pPr algn="r">
              <a:defRPr sz="1200"/>
            </a:lvl1pPr>
          </a:lstStyle>
          <a:p>
            <a:fld id="{8FAC26F9-722D-4478-8BAA-AA5155AACCD9}" type="slidenum">
              <a:rPr lang="en-GB" smtClean="0"/>
              <a:t>‹#›</a:t>
            </a:fld>
            <a:endParaRPr lang="en-GB"/>
          </a:p>
        </p:txBody>
      </p:sp>
    </p:spTree>
    <p:extLst>
      <p:ext uri="{BB962C8B-B14F-4D97-AF65-F5344CB8AC3E}">
        <p14:creationId xmlns:p14="http://schemas.microsoft.com/office/powerpoint/2010/main" val="99083152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3263900" y="509588"/>
            <a:ext cx="3400425" cy="2549525"/>
          </a:xfrm>
          <a:prstGeom prst="rect">
            <a:avLst/>
          </a:prstGeom>
        </p:spPr>
        <p:txBody>
          <a:bodyPr/>
          <a:lstStyle/>
          <a:p>
            <a:endParaRPr/>
          </a:p>
        </p:txBody>
      </p:sp>
      <p:sp>
        <p:nvSpPr>
          <p:cNvPr id="117" name="Shape 117"/>
          <p:cNvSpPr>
            <a:spLocks noGrp="1"/>
          </p:cNvSpPr>
          <p:nvPr>
            <p:ph type="body" sz="quarter" idx="1"/>
          </p:nvPr>
        </p:nvSpPr>
        <p:spPr>
          <a:xfrm>
            <a:off x="1323764" y="3228896"/>
            <a:ext cx="7280698" cy="3058954"/>
          </a:xfrm>
          <a:prstGeom prst="rect">
            <a:avLst/>
          </a:prstGeom>
        </p:spPr>
        <p:txBody>
          <a:bodyPr/>
          <a:lstStyle/>
          <a:p>
            <a:endParaRPr/>
          </a:p>
        </p:txBody>
      </p:sp>
    </p:spTree>
    <p:extLst>
      <p:ext uri="{BB962C8B-B14F-4D97-AF65-F5344CB8AC3E}">
        <p14:creationId xmlns:p14="http://schemas.microsoft.com/office/powerpoint/2010/main" val="1864103358"/>
      </p:ext>
    </p:extLst>
  </p:cSld>
  <p:clrMap bg1="lt1" tx1="dk1" bg2="lt2" tx2="dk2" accent1="accent1" accent2="accent2" accent3="accent3" accent4="accent4" accent5="accent5" accent6="accent6" hlink="hlink" folHlink="folHlink"/>
  <p:hf hdr="0" ftr="0"/>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39325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5621299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1750136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912375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638846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163475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Source Sans Pro" panose="020B0503030403020204" pitchFamily="34" charset="0"/>
                <a:ea typeface="Source Sans Pro" panose="020B0503030403020204" pitchFamily="34" charset="0"/>
              </a:rPr>
              <a:t>This brings us to the end of the presentation. Thank you all for your attention. </a:t>
            </a:r>
          </a:p>
        </p:txBody>
      </p:sp>
    </p:spTree>
    <p:extLst>
      <p:ext uri="{BB962C8B-B14F-4D97-AF65-F5344CB8AC3E}">
        <p14:creationId xmlns:p14="http://schemas.microsoft.com/office/powerpoint/2010/main" val="1400425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041073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068315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6899710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613264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538581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540500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541945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endParaRPr lang="en-GB" sz="110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5794088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el 1a">
    <p:spTree>
      <p:nvGrpSpPr>
        <p:cNvPr id="1" name=""/>
        <p:cNvGrpSpPr/>
        <p:nvPr/>
      </p:nvGrpSpPr>
      <p:grpSpPr>
        <a:xfrm>
          <a:off x="0" y="0"/>
          <a:ext cx="0" cy="0"/>
          <a:chOff x="0" y="0"/>
          <a:chExt cx="0" cy="0"/>
        </a:xfrm>
      </p:grpSpPr>
      <p:sp>
        <p:nvSpPr>
          <p:cNvPr id="110" name="Foliennummer"/>
          <p:cNvSpPr txBox="1">
            <a:spLocks noGrp="1"/>
          </p:cNvSpPr>
          <p:nvPr>
            <p:ph type="sldNum" sz="quarter" idx="2"/>
          </p:nvPr>
        </p:nvSpPr>
        <p:spPr>
          <a:xfrm>
            <a:off x="6328884" y="9296400"/>
            <a:ext cx="340259" cy="324306"/>
          </a:xfrm>
          <a:prstGeom prst="rect">
            <a:avLst/>
          </a:prstGeom>
        </p:spPr>
        <p:txBody>
          <a:bodyPr/>
          <a:lstStyle/>
          <a:p>
            <a:fld id="{86CB4B4D-7CA3-9044-876B-883B54F8677D}" type="slidenum">
              <a:t>‹#›</a:t>
            </a:fld>
            <a:endParaRPr/>
          </a:p>
        </p:txBody>
      </p:sp>
      <p:grpSp>
        <p:nvGrpSpPr>
          <p:cNvPr id="3" name="Group 2">
            <a:extLst>
              <a:ext uri="{FF2B5EF4-FFF2-40B4-BE49-F238E27FC236}">
                <a16:creationId xmlns:a16="http://schemas.microsoft.com/office/drawing/2014/main" id="{2667170B-E789-41CC-8955-B3B985D7C816}"/>
              </a:ext>
            </a:extLst>
          </p:cNvPr>
          <p:cNvGrpSpPr/>
          <p:nvPr userDrawn="1"/>
        </p:nvGrpSpPr>
        <p:grpSpPr>
          <a:xfrm>
            <a:off x="5701308" y="518765"/>
            <a:ext cx="6508938" cy="936000"/>
            <a:chOff x="5701308" y="518765"/>
            <a:chExt cx="6508938" cy="936000"/>
          </a:xfrm>
        </p:grpSpPr>
        <p:pic>
          <p:nvPicPr>
            <p:cNvPr id="4" name="Picture 3">
              <a:extLst>
                <a:ext uri="{FF2B5EF4-FFF2-40B4-BE49-F238E27FC236}">
                  <a16:creationId xmlns:a16="http://schemas.microsoft.com/office/drawing/2014/main" id="{B4683569-EB44-45C7-A436-674CBA693D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01308" y="518765"/>
              <a:ext cx="3377622" cy="936000"/>
            </a:xfrm>
            <a:prstGeom prst="rect">
              <a:avLst/>
            </a:prstGeom>
          </p:spPr>
        </p:pic>
        <p:pic>
          <p:nvPicPr>
            <p:cNvPr id="5" name="Picture 4">
              <a:extLst>
                <a:ext uri="{FF2B5EF4-FFF2-40B4-BE49-F238E27FC236}">
                  <a16:creationId xmlns:a16="http://schemas.microsoft.com/office/drawing/2014/main" id="{83E54A45-4900-4A5B-A74C-3581084F6F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78930" y="662765"/>
              <a:ext cx="3131316" cy="648000"/>
            </a:xfrm>
            <a:prstGeom prst="rect">
              <a:avLst/>
            </a:prstGeom>
          </p:spPr>
        </p:pic>
      </p:gr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June 2020</a:t>
            </a:r>
            <a:endParaRPr lang="en-GB"/>
          </a:p>
        </p:txBody>
      </p:sp>
      <p:sp>
        <p:nvSpPr>
          <p:cNvPr id="3" name="Footer Placeholder 2"/>
          <p:cNvSpPr>
            <a:spLocks noGrp="1"/>
          </p:cNvSpPr>
          <p:nvPr>
            <p:ph type="ftr" sz="quarter" idx="11"/>
          </p:nvPr>
        </p:nvSpPr>
        <p:spPr/>
        <p:txBody>
          <a:bodyPr/>
          <a:lstStyle/>
          <a:p>
            <a:r>
              <a:rPr lang="en-GB"/>
              <a:t>Office of the President</a:t>
            </a:r>
          </a:p>
        </p:txBody>
      </p:sp>
      <p:sp>
        <p:nvSpPr>
          <p:cNvPr id="4" name="Slide Number Placeholder 3"/>
          <p:cNvSpPr>
            <a:spLocks noGrp="1"/>
          </p:cNvSpPr>
          <p:nvPr>
            <p:ph type="sldNum" sz="quarter" idx="12"/>
          </p:nvPr>
        </p:nvSpPr>
        <p:spPr/>
        <p:txBody>
          <a:bodyPr/>
          <a:lstStyle/>
          <a:p>
            <a:fld id="{DF0D6725-B99C-4938-87DB-73B670F965B2}" type="slidenum">
              <a:rPr lang="en-GB" smtClean="0"/>
              <a:pPr/>
              <a:t>‹#›</a:t>
            </a:fld>
            <a:endParaRPr lang="en-GB"/>
          </a:p>
        </p:txBody>
      </p:sp>
    </p:spTree>
    <p:extLst>
      <p:ext uri="{BB962C8B-B14F-4D97-AF65-F5344CB8AC3E}">
        <p14:creationId xmlns:p14="http://schemas.microsoft.com/office/powerpoint/2010/main" val="91513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a:t>Click here to add title</a:t>
            </a:r>
            <a:endParaRPr lang="de-DE" noProof="0" dirty="0"/>
          </a:p>
        </p:txBody>
      </p:sp>
      <p:sp>
        <p:nvSpPr>
          <p:cNvPr id="3" name="Fußzeilenplatzhalter 2"/>
          <p:cNvSpPr>
            <a:spLocks noGrp="1"/>
          </p:cNvSpPr>
          <p:nvPr>
            <p:ph type="ftr" sz="quarter" idx="10"/>
          </p:nvPr>
        </p:nvSpPr>
        <p:spPr/>
        <p:txBody>
          <a:bodyPr/>
          <a:lstStyle/>
          <a:p>
            <a:r>
              <a:rPr lang="de-DE"/>
              <a:t>Office of the President</a:t>
            </a:r>
          </a:p>
        </p:txBody>
      </p:sp>
      <p:sp>
        <p:nvSpPr>
          <p:cNvPr id="4" name="Datumsplatzhalter 3"/>
          <p:cNvSpPr>
            <a:spLocks noGrp="1"/>
          </p:cNvSpPr>
          <p:nvPr>
            <p:ph type="dt" sz="half" idx="11"/>
          </p:nvPr>
        </p:nvSpPr>
        <p:spPr/>
        <p:txBody>
          <a:bodyPr/>
          <a:lstStyle/>
          <a:p>
            <a:r>
              <a:rPr lang="en-US"/>
              <a:t>June 2020</a:t>
            </a:r>
            <a:endParaRPr lang="de-DE"/>
          </a:p>
        </p:txBody>
      </p:sp>
      <p:sp>
        <p:nvSpPr>
          <p:cNvPr id="7" name="Inhaltsplatzhalter 2"/>
          <p:cNvSpPr>
            <a:spLocks noGrp="1"/>
          </p:cNvSpPr>
          <p:nvPr>
            <p:ph idx="1" hasCustomPrompt="1"/>
          </p:nvPr>
        </p:nvSpPr>
        <p:spPr>
          <a:xfrm>
            <a:off x="972800" y="3481601"/>
            <a:ext cx="11059200" cy="1297278"/>
          </a:xfrm>
        </p:spPr>
        <p:txBody>
          <a:bodyPr/>
          <a:lstStyle>
            <a:lvl1pPr marL="0" marR="0" indent="0" algn="l" defTabSz="975241" rtl="0" eaLnBrk="1" fontAlgn="base" latinLnBrk="0" hangingPunct="1">
              <a:lnSpc>
                <a:spcPct val="100000"/>
              </a:lnSpc>
              <a:spcBef>
                <a:spcPts val="427"/>
              </a:spcBef>
              <a:spcAft>
                <a:spcPts val="853"/>
              </a:spcAft>
              <a:buClr>
                <a:srgbClr val="C80F0F"/>
              </a:buClr>
              <a:buSzTx/>
              <a:buFontTx/>
              <a:buNone/>
              <a:tabLst>
                <a:tab pos="2336517" algn="l"/>
              </a:tabLst>
              <a:defRPr sz="1920" baseline="0"/>
            </a:lvl1pPr>
            <a:lvl2pPr marL="383953" indent="-383953">
              <a:buClr>
                <a:srgbClr val="C80F0F"/>
              </a:buClr>
              <a:buFont typeface="Arial" pitchFamily="34" charset="0"/>
              <a:buChar char="•"/>
              <a:defRPr sz="1920"/>
            </a:lvl2pPr>
            <a:lvl3pPr marL="767907">
              <a:defRPr sz="1920"/>
            </a:lvl3pPr>
            <a:lvl4pPr marL="1151860">
              <a:defRPr sz="1920" baseline="0"/>
            </a:lvl4pPr>
            <a:lvl5pPr marL="1535814">
              <a:defRPr sz="1920" baseline="0"/>
            </a:lvl5pPr>
            <a:lvl6pPr marL="1919767">
              <a:defRPr baseline="0"/>
            </a:lvl6pPr>
            <a:lvl7pPr marL="2303719">
              <a:defRPr baseline="0"/>
            </a:lvl7pPr>
            <a:lvl8pPr marL="2687674">
              <a:defRPr baseline="0"/>
            </a:lvl8pPr>
            <a:lvl9pPr marL="3071626">
              <a:defRPr/>
            </a:lvl9pPr>
          </a:lstStyle>
          <a:p>
            <a:pPr marL="0" marR="0" lvl="0" indent="0" defTabSz="975241" latinLnBrk="0">
              <a:lnSpc>
                <a:spcPct val="100000"/>
              </a:lnSpc>
              <a:buSzTx/>
              <a:buFontTx/>
              <a:buNone/>
            </a:pPr>
            <a:r>
              <a:rPr lang="de-DE" noProof="0" dirty="0"/>
              <a:t>Click here to add content</a:t>
            </a:r>
          </a:p>
          <a:p>
            <a:pPr marL="383953" lvl="1">
              <a:buClr>
                <a:srgbClr val="C80F0F"/>
              </a:buClr>
            </a:pPr>
            <a:r>
              <a:rPr lang="de-DE" noProof="0" dirty="0"/>
              <a:t>Second layer</a:t>
            </a:r>
          </a:p>
          <a:p>
            <a:pPr marL="767907" lvl="2"/>
            <a:r>
              <a:rPr lang="de-DE" noProof="0" dirty="0"/>
              <a:t>Third layer</a:t>
            </a:r>
          </a:p>
          <a:p>
            <a:pPr marL="1151860" lvl="3"/>
            <a:r>
              <a:rPr lang="de-DE" noProof="0" dirty="0"/>
              <a:t>Fourth layer</a:t>
            </a:r>
          </a:p>
        </p:txBody>
      </p:sp>
    </p:spTree>
    <p:extLst>
      <p:ext uri="{BB962C8B-B14F-4D97-AF65-F5344CB8AC3E}">
        <p14:creationId xmlns:p14="http://schemas.microsoft.com/office/powerpoint/2010/main" val="284356518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June 2020</a:t>
            </a:r>
            <a:endParaRPr lang="en-GB"/>
          </a:p>
        </p:txBody>
      </p:sp>
      <p:sp>
        <p:nvSpPr>
          <p:cNvPr id="5" name="Footer Placeholder 4"/>
          <p:cNvSpPr>
            <a:spLocks noGrp="1"/>
          </p:cNvSpPr>
          <p:nvPr>
            <p:ph type="ftr" sz="quarter" idx="11"/>
          </p:nvPr>
        </p:nvSpPr>
        <p:spPr/>
        <p:txBody>
          <a:bodyPr/>
          <a:lstStyle/>
          <a:p>
            <a:r>
              <a:rPr lang="en-GB"/>
              <a:t>Office of the President</a:t>
            </a:r>
          </a:p>
        </p:txBody>
      </p:sp>
      <p:sp>
        <p:nvSpPr>
          <p:cNvPr id="6" name="Slide Number Placeholder 5"/>
          <p:cNvSpPr>
            <a:spLocks noGrp="1"/>
          </p:cNvSpPr>
          <p:nvPr>
            <p:ph type="sldNum" sz="quarter" idx="12"/>
          </p:nvPr>
        </p:nvSpPr>
        <p:spPr/>
        <p:txBody>
          <a:bodyPr/>
          <a:lstStyle/>
          <a:p>
            <a:fld id="{DF0D6725-B99C-4938-87DB-73B670F965B2}" type="slidenum">
              <a:rPr lang="en-GB" smtClean="0"/>
              <a:pPr/>
              <a:t>‹#›</a:t>
            </a:fld>
            <a:endParaRPr lang="en-GB"/>
          </a:p>
        </p:txBody>
      </p:sp>
    </p:spTree>
    <p:extLst>
      <p:ext uri="{BB962C8B-B14F-4D97-AF65-F5344CB8AC3E}">
        <p14:creationId xmlns:p14="http://schemas.microsoft.com/office/powerpoint/2010/main" val="4001976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2a">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700B38C-02A5-084A-AF00-A1781CCF0CDD}"/>
              </a:ext>
            </a:extLst>
          </p:cNvPr>
          <p:cNvSpPr>
            <a:spLocks noGrp="1"/>
          </p:cNvSpPr>
          <p:nvPr>
            <p:ph type="dt" sz="half" idx="10"/>
          </p:nvPr>
        </p:nvSpPr>
        <p:spPr>
          <a:xfrm>
            <a:off x="893763" y="9040813"/>
            <a:ext cx="2925762" cy="519112"/>
          </a:xfrm>
          <a:prstGeom prst="rect">
            <a:avLst/>
          </a:prstGeom>
        </p:spPr>
        <p:txBody>
          <a:bodyPr/>
          <a:lstStyle/>
          <a:p>
            <a:r>
              <a:rPr lang="en-US"/>
              <a:t>June 2020</a:t>
            </a:r>
            <a:endParaRPr lang="de-DE"/>
          </a:p>
        </p:txBody>
      </p:sp>
      <p:sp>
        <p:nvSpPr>
          <p:cNvPr id="5" name="Fußzeilenplatzhalter 4">
            <a:extLst>
              <a:ext uri="{FF2B5EF4-FFF2-40B4-BE49-F238E27FC236}">
                <a16:creationId xmlns:a16="http://schemas.microsoft.com/office/drawing/2014/main" id="{C04006BD-D129-ED45-BD5D-5CD9A99612A3}"/>
              </a:ext>
            </a:extLst>
          </p:cNvPr>
          <p:cNvSpPr>
            <a:spLocks noGrp="1"/>
          </p:cNvSpPr>
          <p:nvPr>
            <p:ph type="ftr" sz="quarter" idx="11"/>
          </p:nvPr>
        </p:nvSpPr>
        <p:spPr>
          <a:xfrm>
            <a:off x="4308475" y="9040813"/>
            <a:ext cx="4387850" cy="519112"/>
          </a:xfrm>
          <a:prstGeom prst="rect">
            <a:avLst/>
          </a:prstGeom>
        </p:spPr>
        <p:txBody>
          <a:bodyPr/>
          <a:lstStyle/>
          <a:p>
            <a:r>
              <a:rPr lang="de-DE"/>
              <a:t>Office of the President</a:t>
            </a:r>
          </a:p>
        </p:txBody>
      </p:sp>
      <p:sp>
        <p:nvSpPr>
          <p:cNvPr id="6" name="Foliennummernplatzhalter 5">
            <a:extLst>
              <a:ext uri="{FF2B5EF4-FFF2-40B4-BE49-F238E27FC236}">
                <a16:creationId xmlns:a16="http://schemas.microsoft.com/office/drawing/2014/main" id="{CEC99EAD-2115-E74D-8968-B5B501DFF3DA}"/>
              </a:ext>
            </a:extLst>
          </p:cNvPr>
          <p:cNvSpPr>
            <a:spLocks noGrp="1"/>
          </p:cNvSpPr>
          <p:nvPr>
            <p:ph type="sldNum" sz="quarter" idx="12"/>
          </p:nvPr>
        </p:nvSpPr>
        <p:spPr>
          <a:xfrm>
            <a:off x="9185275" y="9040813"/>
            <a:ext cx="2925763" cy="519112"/>
          </a:xfrm>
          <a:prstGeom prst="rect">
            <a:avLst/>
          </a:prstGeom>
        </p:spPr>
        <p:txBody>
          <a:bodyPr/>
          <a:lstStyle/>
          <a:p>
            <a:fld id="{220B8255-FFE4-E14B-899D-D1D4C8780FAD}" type="slidenum">
              <a:rPr lang="de-DE" smtClean="0"/>
              <a:t>‹#›</a:t>
            </a:fld>
            <a:endParaRPr lang="de-DE"/>
          </a:p>
        </p:txBody>
      </p:sp>
    </p:spTree>
    <p:extLst>
      <p:ext uri="{BB962C8B-B14F-4D97-AF65-F5344CB8AC3E}">
        <p14:creationId xmlns:p14="http://schemas.microsoft.com/office/powerpoint/2010/main" val="3833279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94080" y="519290"/>
            <a:ext cx="11216640" cy="1885245"/>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894080" y="2596444"/>
            <a:ext cx="11216640" cy="618857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94080" y="9040143"/>
            <a:ext cx="2926080" cy="519289"/>
          </a:xfrm>
          <a:prstGeom prst="rect">
            <a:avLst/>
          </a:prstGeom>
        </p:spPr>
        <p:txBody>
          <a:bodyPr/>
          <a:lstStyle>
            <a:lvl1pPr>
              <a:defRPr/>
            </a:lvl1pPr>
          </a:lstStyle>
          <a:p>
            <a:pPr>
              <a:defRPr/>
            </a:pPr>
            <a:r>
              <a:rPr lang="en-US" altLang="en-US"/>
              <a:t>June 2020</a:t>
            </a:r>
            <a:endParaRPr lang="en-US" altLang="en-US" dirty="0"/>
          </a:p>
        </p:txBody>
      </p:sp>
      <p:sp>
        <p:nvSpPr>
          <p:cNvPr id="5" name="Footer Placeholder 4"/>
          <p:cNvSpPr>
            <a:spLocks noGrp="1"/>
          </p:cNvSpPr>
          <p:nvPr>
            <p:ph type="ftr" sz="quarter" idx="11"/>
          </p:nvPr>
        </p:nvSpPr>
        <p:spPr>
          <a:xfrm>
            <a:off x="4307840" y="9040143"/>
            <a:ext cx="4389120" cy="519289"/>
          </a:xfrm>
          <a:prstGeom prst="rect">
            <a:avLst/>
          </a:prstGeom>
        </p:spPr>
        <p:txBody>
          <a:bodyPr/>
          <a:lstStyle>
            <a:lvl1pPr>
              <a:defRPr/>
            </a:lvl1pPr>
          </a:lstStyle>
          <a:p>
            <a:pPr>
              <a:defRPr/>
            </a:pPr>
            <a:r>
              <a:rPr lang="en-US"/>
              <a:t>Office of the President</a:t>
            </a:r>
          </a:p>
        </p:txBody>
      </p:sp>
      <p:sp>
        <p:nvSpPr>
          <p:cNvPr id="6" name="Slide Number Placeholder 5"/>
          <p:cNvSpPr>
            <a:spLocks noGrp="1"/>
          </p:cNvSpPr>
          <p:nvPr>
            <p:ph type="sldNum" sz="quarter" idx="12"/>
          </p:nvPr>
        </p:nvSpPr>
        <p:spPr>
          <a:xfrm>
            <a:off x="9184640" y="9040143"/>
            <a:ext cx="2926080" cy="519289"/>
          </a:xfrm>
          <a:prstGeom prst="rect">
            <a:avLst/>
          </a:prstGeom>
        </p:spPr>
        <p:txBody>
          <a:bodyPr/>
          <a:lstStyle>
            <a:lvl1pPr>
              <a:defRPr/>
            </a:lvl1pPr>
          </a:lstStyle>
          <a:p>
            <a:pPr>
              <a:defRPr/>
            </a:pPr>
            <a:fld id="{1944D41C-65DB-4833-8D6C-22074FB5FB8B}" type="slidenum">
              <a:rPr lang="en-US" altLang="en-US"/>
              <a:pPr>
                <a:defRPr/>
              </a:pPr>
              <a:t>‹#›</a:t>
            </a:fld>
            <a:endParaRPr lang="en-US" altLang="en-US"/>
          </a:p>
        </p:txBody>
      </p:sp>
    </p:spTree>
    <p:extLst>
      <p:ext uri="{BB962C8B-B14F-4D97-AF65-F5344CB8AC3E}">
        <p14:creationId xmlns:p14="http://schemas.microsoft.com/office/powerpoint/2010/main" val="3281489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losing slide">
    <p:spTree>
      <p:nvGrpSpPr>
        <p:cNvPr id="1" name=""/>
        <p:cNvGrpSpPr/>
        <p:nvPr/>
      </p:nvGrpSpPr>
      <p:grpSpPr>
        <a:xfrm>
          <a:off x="0" y="0"/>
          <a:ext cx="0" cy="0"/>
          <a:chOff x="0" y="0"/>
          <a:chExt cx="0" cy="0"/>
        </a:xfrm>
      </p:grpSpPr>
      <p:pic>
        <p:nvPicPr>
          <p:cNvPr id="6" name="CEAF97BC-FE21-4862-AC9E-A0133C68051E" descr="55389D1E-DC40-478F-8B29-85571EF7DEDB">
            <a:extLst>
              <a:ext uri="{FF2B5EF4-FFF2-40B4-BE49-F238E27FC236}">
                <a16:creationId xmlns:a16="http://schemas.microsoft.com/office/drawing/2014/main" id="{6998AEB7-DBAD-4DE7-8EDB-17345AD4169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3004800" cy="982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Gerade Verbindung 5">
            <a:extLst>
              <a:ext uri="{FF2B5EF4-FFF2-40B4-BE49-F238E27FC236}">
                <a16:creationId xmlns:a16="http://schemas.microsoft.com/office/drawing/2014/main" id="{C5D393EE-A9BA-4FF4-AB53-D1325EA90608}"/>
              </a:ext>
            </a:extLst>
          </p:cNvPr>
          <p:cNvCxnSpPr/>
          <p:nvPr userDrawn="1"/>
        </p:nvCxnSpPr>
        <p:spPr>
          <a:xfrm>
            <a:off x="755999" y="2664000"/>
            <a:ext cx="7740001" cy="0"/>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19" name="Gerade Verbindung 6">
            <a:extLst>
              <a:ext uri="{FF2B5EF4-FFF2-40B4-BE49-F238E27FC236}">
                <a16:creationId xmlns:a16="http://schemas.microsoft.com/office/drawing/2014/main" id="{BCCA62A8-E9A9-494B-A93A-848F2F850E6F}"/>
              </a:ext>
            </a:extLst>
          </p:cNvPr>
          <p:cNvCxnSpPr/>
          <p:nvPr userDrawn="1"/>
        </p:nvCxnSpPr>
        <p:spPr>
          <a:xfrm>
            <a:off x="755999" y="4219200"/>
            <a:ext cx="7740001" cy="0"/>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sp>
        <p:nvSpPr>
          <p:cNvPr id="8" name="Textfeld 2">
            <a:extLst>
              <a:ext uri="{FF2B5EF4-FFF2-40B4-BE49-F238E27FC236}">
                <a16:creationId xmlns:a16="http://schemas.microsoft.com/office/drawing/2014/main" id="{8E7F2094-E3B7-464B-AA75-4F75E9CA36FA}"/>
              </a:ext>
            </a:extLst>
          </p:cNvPr>
          <p:cNvSpPr txBox="1"/>
          <p:nvPr userDrawn="1"/>
        </p:nvSpPr>
        <p:spPr>
          <a:xfrm>
            <a:off x="756000" y="2880001"/>
            <a:ext cx="9026012" cy="9630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l"/>
            <a:r>
              <a:rPr kumimoji="0" lang="en-GB" sz="6258" b="1" u="none" strike="noStrike" cap="none" spc="0" normalizeH="0" baseline="0" dirty="0">
                <a:ln>
                  <a:noFill/>
                </a:ln>
                <a:solidFill>
                  <a:srgbClr val="FFFFFF"/>
                </a:solidFill>
                <a:effectLst/>
                <a:uFillTx/>
                <a:latin typeface="Source Sans Pro" panose="020B0503030403020204" pitchFamily="34" charset="0"/>
                <a:ea typeface="Source Sans Pro" panose="020B0503030403020204" pitchFamily="34" charset="0"/>
                <a:sym typeface="Helvetica Neue"/>
              </a:rPr>
              <a:t>Thank you</a:t>
            </a:r>
            <a:endParaRPr kumimoji="0" lang="en-GB" sz="6258" b="1" u="none" strike="noStrike" cap="none" spc="0" normalizeH="0" baseline="0" dirty="0">
              <a:ln>
                <a:noFill/>
              </a:ln>
              <a:solidFill>
                <a:srgbClr val="FFFFFF"/>
              </a:solidFill>
              <a:effectLst/>
              <a:uFillTx/>
              <a:latin typeface="Source Sans Pro Semibold" panose="020B0503030403020204" pitchFamily="34" charset="0"/>
              <a:ea typeface="Source Sans Pro Semibold" panose="020B0503030403020204" pitchFamily="34" charset="0"/>
              <a:sym typeface="Helvetica Neue"/>
            </a:endParaRPr>
          </a:p>
        </p:txBody>
      </p:sp>
      <p:grpSp>
        <p:nvGrpSpPr>
          <p:cNvPr id="7" name="Group 6">
            <a:extLst>
              <a:ext uri="{FF2B5EF4-FFF2-40B4-BE49-F238E27FC236}">
                <a16:creationId xmlns:a16="http://schemas.microsoft.com/office/drawing/2014/main" id="{22705909-4C76-4C45-84CB-E689A366604B}"/>
              </a:ext>
            </a:extLst>
          </p:cNvPr>
          <p:cNvGrpSpPr/>
          <p:nvPr userDrawn="1"/>
        </p:nvGrpSpPr>
        <p:grpSpPr>
          <a:xfrm>
            <a:off x="5701308" y="518765"/>
            <a:ext cx="6508938" cy="936000"/>
            <a:chOff x="5701308" y="518765"/>
            <a:chExt cx="6508938" cy="936000"/>
          </a:xfrm>
        </p:grpSpPr>
        <p:pic>
          <p:nvPicPr>
            <p:cNvPr id="9" name="Picture 8">
              <a:extLst>
                <a:ext uri="{FF2B5EF4-FFF2-40B4-BE49-F238E27FC236}">
                  <a16:creationId xmlns:a16="http://schemas.microsoft.com/office/drawing/2014/main" id="{26BFFF65-F5A2-4223-A3E5-EBFF7BB253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01308" y="518765"/>
              <a:ext cx="3377622" cy="936000"/>
            </a:xfrm>
            <a:prstGeom prst="rect">
              <a:avLst/>
            </a:prstGeom>
          </p:spPr>
        </p:pic>
        <p:pic>
          <p:nvPicPr>
            <p:cNvPr id="10" name="Picture 9">
              <a:extLst>
                <a:ext uri="{FF2B5EF4-FFF2-40B4-BE49-F238E27FC236}">
                  <a16:creationId xmlns:a16="http://schemas.microsoft.com/office/drawing/2014/main" id="{371BC655-6DB9-40A6-8E29-E459B993456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78930" y="662765"/>
              <a:ext cx="3131316" cy="648000"/>
            </a:xfrm>
            <a:prstGeom prst="rect">
              <a:avLst/>
            </a:prstGeom>
          </p:spPr>
        </p:pic>
      </p:grpSp>
    </p:spTree>
    <p:extLst>
      <p:ext uri="{BB962C8B-B14F-4D97-AF65-F5344CB8AC3E}">
        <p14:creationId xmlns:p14="http://schemas.microsoft.com/office/powerpoint/2010/main" val="1226097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83680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77776094"/>
              </p:ext>
            </p:extLst>
          </p:nvPr>
        </p:nvGraphicFramePr>
        <p:xfrm>
          <a:off x="2306" y="2312"/>
          <a:ext cx="2303" cy="230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306" y="2312"/>
                        <a:ext cx="2303" cy="2303"/>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69FD5B1-2016-456A-837C-4EA740F8C702}"/>
              </a:ext>
            </a:extLst>
          </p:cNvPr>
          <p:cNvSpPr/>
          <p:nvPr/>
        </p:nvSpPr>
        <p:spPr>
          <a:xfrm>
            <a:off x="1" y="6871"/>
            <a:ext cx="13269733" cy="9951713"/>
          </a:xfrm>
          <a:prstGeom prst="rect">
            <a:avLst/>
          </a:prstGeom>
          <a:solidFill>
            <a:srgbClr val="007635"/>
          </a:solidFill>
          <a:ln w="25400">
            <a:noFill/>
          </a:ln>
        </p:spPr>
        <p:txBody>
          <a:bodyPr vert="horz" wrap="square" lIns="92012" tIns="46006" rIns="92012" bIns="46006" rtlCol="0" anchor="ctr">
            <a:noAutofit/>
          </a:bodyPr>
          <a:lstStyle/>
          <a:p>
            <a:pPr algn="ctr"/>
            <a:endParaRPr lang="en-GB" sz="2031" dirty="0"/>
          </a:p>
        </p:txBody>
      </p:sp>
      <p:pic>
        <p:nvPicPr>
          <p:cNvPr id="15" name="Picture 14">
            <a:extLst>
              <a:ext uri="{FF2B5EF4-FFF2-40B4-BE49-F238E27FC236}">
                <a16:creationId xmlns:a16="http://schemas.microsoft.com/office/drawing/2014/main" id="{12908F94-0860-43F2-B55E-558AEB225F0C}"/>
              </a:ext>
            </a:extLst>
          </p:cNvPr>
          <p:cNvPicPr>
            <a:picLocks noChangeAspect="1"/>
          </p:cNvPicPr>
          <p:nvPr/>
        </p:nvPicPr>
        <p:blipFill rotWithShape="1">
          <a:blip r:embed="rId6"/>
          <a:srcRect l="11547" t="21650" r="59038" b="26057"/>
          <a:stretch/>
        </p:blipFill>
        <p:spPr>
          <a:xfrm>
            <a:off x="464225" y="2869570"/>
            <a:ext cx="3480309" cy="3377746"/>
          </a:xfrm>
          <a:prstGeom prst="ellipse">
            <a:avLst/>
          </a:prstGeom>
        </p:spPr>
      </p:pic>
      <p:sp>
        <p:nvSpPr>
          <p:cNvPr id="4" name="Working Draft Text" hidden="1"/>
          <p:cNvSpPr txBox="1">
            <a:spLocks noChangeArrowheads="1"/>
          </p:cNvSpPr>
          <p:nvPr/>
        </p:nvSpPr>
        <p:spPr bwMode="black">
          <a:xfrm>
            <a:off x="8696609" y="9123916"/>
            <a:ext cx="4048836"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161" b="1" baseline="0" dirty="0">
                <a:solidFill>
                  <a:srgbClr val="FFFFFF"/>
                </a:solidFill>
                <a:latin typeface="+mn-lt"/>
              </a:rPr>
              <a:t>WORKING DRAFT</a:t>
            </a:r>
          </a:p>
        </p:txBody>
      </p:sp>
      <p:sp>
        <p:nvSpPr>
          <p:cNvPr id="6" name="Working Draft" hidden="1"/>
          <p:cNvSpPr txBox="1">
            <a:spLocks noChangeArrowheads="1"/>
          </p:cNvSpPr>
          <p:nvPr/>
        </p:nvSpPr>
        <p:spPr bwMode="black">
          <a:xfrm>
            <a:off x="8696608" y="9302563"/>
            <a:ext cx="4308191"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161" baseline="0">
                <a:solidFill>
                  <a:srgbClr val="FFFFFF"/>
                </a:solidFill>
                <a:latin typeface="+mn-lt"/>
              </a:rPr>
              <a:t>Last Modified 8/3/2020 3:30 PM Eastern Standard Time</a:t>
            </a:r>
            <a:endParaRPr lang="en-US" sz="1161" baseline="0" dirty="0">
              <a:solidFill>
                <a:srgbClr val="FFFFFF"/>
              </a:solidFill>
              <a:latin typeface="+mn-lt"/>
            </a:endParaRPr>
          </a:p>
        </p:txBody>
      </p:sp>
      <p:sp>
        <p:nvSpPr>
          <p:cNvPr id="7" name="Printed" hidden="1"/>
          <p:cNvSpPr txBox="1">
            <a:spLocks noChangeArrowheads="1"/>
          </p:cNvSpPr>
          <p:nvPr/>
        </p:nvSpPr>
        <p:spPr bwMode="black">
          <a:xfrm>
            <a:off x="8696609" y="9481211"/>
            <a:ext cx="4048836"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161" baseline="0">
                <a:solidFill>
                  <a:srgbClr val="FFFFFF"/>
                </a:solidFill>
                <a:latin typeface="+mn-lt"/>
              </a:rPr>
              <a:t>Printed 2018/10/03 14:07 W. Central Africa Standard Time</a:t>
            </a:r>
            <a:endParaRPr lang="en-US" sz="1161" baseline="0" dirty="0">
              <a:solidFill>
                <a:srgbClr val="FFFFFF"/>
              </a:solidFill>
              <a:latin typeface="+mn-lt"/>
            </a:endParaRPr>
          </a:p>
        </p:txBody>
      </p:sp>
      <p:sp>
        <p:nvSpPr>
          <p:cNvPr id="13314" name="Title"/>
          <p:cNvSpPr>
            <a:spLocks noGrp="1" noChangeArrowheads="1"/>
          </p:cNvSpPr>
          <p:nvPr>
            <p:ph type="ctrTitle"/>
          </p:nvPr>
        </p:nvSpPr>
        <p:spPr>
          <a:xfrm>
            <a:off x="4631651" y="4357472"/>
            <a:ext cx="7703413" cy="401956"/>
          </a:xfrm>
          <a:prstGeom prst="rect">
            <a:avLst/>
          </a:prstGeom>
        </p:spPr>
        <p:txBody>
          <a:bodyPr wrap="square" anchor="ctr" anchorCtr="0">
            <a:spAutoFit/>
          </a:bodyPr>
          <a:lstStyle>
            <a:lvl1pPr>
              <a:defRPr sz="2613" b="0" baseline="0">
                <a:solidFill>
                  <a:schemeClr val="bg1"/>
                </a:solidFill>
                <a:latin typeface="Georgia" panose="02040502050405020303" pitchFamily="18" charset="0"/>
                <a:ea typeface="+mj-ea"/>
                <a:cs typeface="Calibri" panose="020F0502020204030204" pitchFamily="34" charset="0"/>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4631651" y="6256171"/>
            <a:ext cx="7703413" cy="401956"/>
          </a:xfrm>
          <a:prstGeom prst="rect">
            <a:avLst/>
          </a:prstGeom>
        </p:spPr>
        <p:txBody>
          <a:bodyPr wrap="square">
            <a:spAutoFit/>
          </a:bodyPr>
          <a:lstStyle>
            <a:lvl1pPr>
              <a:defRPr sz="2613" cap="all" baseline="0">
                <a:solidFill>
                  <a:schemeClr val="bg1"/>
                </a:solidFill>
                <a:latin typeface="Georgia" panose="02040502050405020303" pitchFamily="18" charset="0"/>
                <a:ea typeface="+mn-ea"/>
              </a:defRPr>
            </a:lvl1pPr>
          </a:lstStyle>
          <a:p>
            <a:pPr lvl="0" latinLnBrk="0"/>
            <a:r>
              <a:rPr lang="en-US" noProof="0" dirty="0"/>
              <a:t>Click to edit Master subtitle style</a:t>
            </a:r>
          </a:p>
        </p:txBody>
      </p:sp>
      <p:sp>
        <p:nvSpPr>
          <p:cNvPr id="5" name="doc id" hidden="1"/>
          <p:cNvSpPr txBox="1">
            <a:spLocks noChangeArrowheads="1"/>
          </p:cNvSpPr>
          <p:nvPr/>
        </p:nvSpPr>
        <p:spPr bwMode="white">
          <a:xfrm>
            <a:off x="12253774" y="52990"/>
            <a:ext cx="428501" cy="1773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161" baseline="0" dirty="0">
              <a:solidFill>
                <a:srgbClr val="FFFFFF"/>
              </a:solidFill>
              <a:latin typeface="+mn-lt"/>
            </a:endParaRPr>
          </a:p>
        </p:txBody>
      </p:sp>
      <p:grpSp>
        <p:nvGrpSpPr>
          <p:cNvPr id="2" name="Group 1">
            <a:extLst>
              <a:ext uri="{FF2B5EF4-FFF2-40B4-BE49-F238E27FC236}">
                <a16:creationId xmlns:a16="http://schemas.microsoft.com/office/drawing/2014/main" id="{9C9E3333-56EE-48C6-9803-739F750ADE1E}"/>
              </a:ext>
            </a:extLst>
          </p:cNvPr>
          <p:cNvGrpSpPr/>
          <p:nvPr/>
        </p:nvGrpSpPr>
        <p:grpSpPr>
          <a:xfrm>
            <a:off x="3291699" y="5198307"/>
            <a:ext cx="9043362" cy="4461546"/>
            <a:chOff x="2268266" y="3582295"/>
            <a:chExt cx="6231663" cy="3074575"/>
          </a:xfrm>
        </p:grpSpPr>
        <p:sp>
          <p:nvSpPr>
            <p:cNvPr id="57" name="Document type" hidden="1"/>
            <p:cNvSpPr txBox="1">
              <a:spLocks noChangeArrowheads="1"/>
            </p:cNvSpPr>
            <p:nvPr/>
          </p:nvSpPr>
          <p:spPr bwMode="gray">
            <a:xfrm>
              <a:off x="2268266" y="3582295"/>
              <a:ext cx="6231663"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2031" baseline="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268266" y="6287555"/>
              <a:ext cx="3544453" cy="3693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1167972" eaLnBrk="0" hangingPunct="0"/>
              <a:r>
                <a:rPr lang="en-US" sz="1161" baseline="0" dirty="0">
                  <a:solidFill>
                    <a:srgbClr val="FFFFFF"/>
                  </a:solidFill>
                  <a:latin typeface="+mn-lt"/>
                </a:rPr>
                <a:t>CONFIDENTIAL AND PROPRIETARY</a:t>
              </a:r>
            </a:p>
            <a:p>
              <a:pPr defTabSz="1167972" eaLnBrk="0" hangingPunct="0"/>
              <a:r>
                <a:rPr lang="en-US" sz="1161" baseline="0" dirty="0">
                  <a:solidFill>
                    <a:srgbClr val="FFFFFF"/>
                  </a:solidFill>
                  <a:latin typeface="+mn-lt"/>
                </a:rPr>
                <a:t>Any use of this material without specific permission of McKinsey &amp; Company is strictly prohibited</a:t>
              </a:r>
            </a:p>
          </p:txBody>
        </p:sp>
      </p:grpSp>
      <p:grpSp>
        <p:nvGrpSpPr>
          <p:cNvPr id="16" name="LogoImage">
            <a:extLst>
              <a:ext uri="{FF2B5EF4-FFF2-40B4-BE49-F238E27FC236}">
                <a16:creationId xmlns:a16="http://schemas.microsoft.com/office/drawing/2014/main" id="{F0A6711B-40BB-4776-A21E-001EC85AC9B0}"/>
              </a:ext>
            </a:extLst>
          </p:cNvPr>
          <p:cNvGrpSpPr>
            <a:grpSpLocks/>
          </p:cNvGrpSpPr>
          <p:nvPr userDrawn="1">
            <p:custDataLst>
              <p:tags r:id="rId2"/>
            </p:custDataLst>
          </p:nvPr>
        </p:nvGrpSpPr>
        <p:grpSpPr bwMode="auto">
          <a:xfrm>
            <a:off x="3386628" y="374704"/>
            <a:ext cx="2477120" cy="787730"/>
            <a:chOff x="0" y="973"/>
            <a:chExt cx="7680" cy="2374"/>
          </a:xfrm>
        </p:grpSpPr>
        <p:sp>
          <p:nvSpPr>
            <p:cNvPr id="17" name="AutoShape 3">
              <a:extLst>
                <a:ext uri="{FF2B5EF4-FFF2-40B4-BE49-F238E27FC236}">
                  <a16:creationId xmlns:a16="http://schemas.microsoft.com/office/drawing/2014/main" id="{9729A3C1-7A74-4329-8EC4-7853BD2D07BF}"/>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21">
                <a:latin typeface="+mn-lt"/>
              </a:endParaRPr>
            </a:p>
          </p:txBody>
        </p:sp>
        <p:sp>
          <p:nvSpPr>
            <p:cNvPr id="18" name="Freeform 5">
              <a:extLst>
                <a:ext uri="{FF2B5EF4-FFF2-40B4-BE49-F238E27FC236}">
                  <a16:creationId xmlns:a16="http://schemas.microsoft.com/office/drawing/2014/main" id="{4489505B-B800-4E6D-BBB4-B4EEF2EEA20B}"/>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21">
                <a:latin typeface="+mn-lt"/>
              </a:endParaRPr>
            </a:p>
          </p:txBody>
        </p:sp>
      </p:grpSp>
    </p:spTree>
    <p:extLst>
      <p:ext uri="{BB962C8B-B14F-4D97-AF65-F5344CB8AC3E}">
        <p14:creationId xmlns:p14="http://schemas.microsoft.com/office/powerpoint/2010/main" val="3171226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956D4-5724-4CE1-9981-DC3A7364EE8A}"/>
              </a:ext>
            </a:extLst>
          </p:cNvPr>
          <p:cNvGraphicFramePr>
            <a:graphicFrameLocks noChangeAspect="1"/>
          </p:cNvGraphicFramePr>
          <p:nvPr>
            <p:custDataLst>
              <p:tags r:id="rId1"/>
            </p:custDataLst>
            <p:extLst>
              <p:ext uri="{D42A27DB-BD31-4B8C-83A1-F6EECF244321}">
                <p14:modId xmlns:p14="http://schemas.microsoft.com/office/powerpoint/2010/main" val="2157726202"/>
              </p:ext>
            </p:extLst>
          </p:nvPr>
        </p:nvGraphicFramePr>
        <p:xfrm>
          <a:off x="2306" y="2312"/>
          <a:ext cx="2303" cy="2303"/>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a:extLst>
                          <a:ext uri="{FF2B5EF4-FFF2-40B4-BE49-F238E27FC236}">
                            <a16:creationId xmlns:a16="http://schemas.microsoft.com/office/drawing/2014/main" id="{288956D4-5724-4CE1-9981-DC3A7364EE8A}"/>
                          </a:ext>
                        </a:extLst>
                      </p:cNvPr>
                      <p:cNvPicPr/>
                      <p:nvPr/>
                    </p:nvPicPr>
                    <p:blipFill>
                      <a:blip r:embed="rId5"/>
                      <a:stretch>
                        <a:fillRect/>
                      </a:stretch>
                    </p:blipFill>
                    <p:spPr>
                      <a:xfrm>
                        <a:off x="2306" y="2312"/>
                        <a:ext cx="2303" cy="230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8DA1CE-3C15-4677-A3DA-DC46FFB008FA}"/>
              </a:ext>
            </a:extLst>
          </p:cNvPr>
          <p:cNvSpPr/>
          <p:nvPr userDrawn="1">
            <p:custDataLst>
              <p:tags r:id="rId2"/>
            </p:custDataLst>
          </p:nvPr>
        </p:nvSpPr>
        <p:spPr>
          <a:xfrm>
            <a:off x="3" y="0"/>
            <a:ext cx="172774" cy="2303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83"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12430536" y="9444228"/>
            <a:ext cx="182742" cy="178639"/>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161" baseline="0" smtClean="0">
                <a:solidFill>
                  <a:srgbClr val="808080"/>
                </a:solidFill>
                <a:latin typeface="+mn-lt"/>
              </a:rPr>
              <a:pPr/>
              <a:t>‹#›</a:t>
            </a:fld>
            <a:endParaRPr lang="en-US" sz="1161" baseline="0" dirty="0">
              <a:solidFill>
                <a:srgbClr val="808080"/>
              </a:solidFill>
              <a:latin typeface="+mn-lt"/>
            </a:endParaRPr>
          </a:p>
        </p:txBody>
      </p:sp>
      <p:sp>
        <p:nvSpPr>
          <p:cNvPr id="5" name="doc id" hidden="1"/>
          <p:cNvSpPr>
            <a:spLocks noChangeArrowheads="1"/>
          </p:cNvSpPr>
          <p:nvPr/>
        </p:nvSpPr>
        <p:spPr bwMode="auto">
          <a:xfrm>
            <a:off x="11728513" y="73724"/>
            <a:ext cx="953762" cy="1773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82"/>
            <a:endParaRPr lang="en-US" sz="1161" baseline="0" dirty="0">
              <a:solidFill>
                <a:srgbClr val="808080"/>
              </a:solidFill>
              <a:latin typeface="+mn-lt"/>
              <a:ea typeface="+mn-ea"/>
            </a:endParaRPr>
          </a:p>
        </p:txBody>
      </p:sp>
    </p:spTree>
    <p:extLst>
      <p:ext uri="{BB962C8B-B14F-4D97-AF65-F5344CB8AC3E}">
        <p14:creationId xmlns:p14="http://schemas.microsoft.com/office/powerpoint/2010/main" val="2079776675"/>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extLst>
              <p:ext uri="{D42A27DB-BD31-4B8C-83A1-F6EECF244321}">
                <p14:modId xmlns:p14="http://schemas.microsoft.com/office/powerpoint/2010/main" val="4203606071"/>
              </p:ext>
            </p:extLst>
          </p:nvPr>
        </p:nvGraphicFramePr>
        <p:xfrm>
          <a:off x="2306" y="2312"/>
          <a:ext cx="2303" cy="2303"/>
        </p:xfrm>
        <a:graphic>
          <a:graphicData uri="http://schemas.openxmlformats.org/presentationml/2006/ole">
            <mc:AlternateContent xmlns:mc="http://schemas.openxmlformats.org/markup-compatibility/2006">
              <mc:Choice xmlns:v="urn:schemas-microsoft-com:vml" Requires="v">
                <p:oleObj name="think-cell Slide" r:id="rId3" imgW="386" imgH="386" progId="TCLayout.ActiveDocument.1">
                  <p:embed/>
                </p:oleObj>
              </mc:Choice>
              <mc:Fallback>
                <p:oleObj name="think-cell Slide" r:id="rId3"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4"/>
                      <a:stretch>
                        <a:fillRect/>
                      </a:stretch>
                    </p:blipFill>
                    <p:spPr>
                      <a:xfrm>
                        <a:off x="2306" y="2312"/>
                        <a:ext cx="2303" cy="2303"/>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12430536" y="9444228"/>
            <a:ext cx="182742" cy="178639"/>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161" baseline="0" smtClean="0">
                <a:solidFill>
                  <a:srgbClr val="FFFFFF"/>
                </a:solidFill>
                <a:latin typeface="+mn-lt"/>
              </a:rPr>
              <a:pPr/>
              <a:t>‹#›</a:t>
            </a:fld>
            <a:endParaRPr lang="en-US" sz="1161" baseline="0" dirty="0">
              <a:solidFill>
                <a:srgbClr val="FFFFFF"/>
              </a:solidFill>
              <a:latin typeface="+mn-lt"/>
            </a:endParaRPr>
          </a:p>
        </p:txBody>
      </p:sp>
      <p:sp>
        <p:nvSpPr>
          <p:cNvPr id="5" name="doc id" hidden="1"/>
          <p:cNvSpPr>
            <a:spLocks noChangeArrowheads="1"/>
          </p:cNvSpPr>
          <p:nvPr/>
        </p:nvSpPr>
        <p:spPr bwMode="auto">
          <a:xfrm>
            <a:off x="11728513" y="73724"/>
            <a:ext cx="953762" cy="1773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82"/>
            <a:endParaRPr lang="en-US" sz="1161" baseline="0" dirty="0">
              <a:solidFill>
                <a:srgbClr val="808080"/>
              </a:solidFill>
              <a:latin typeface="+mn-lt"/>
              <a:ea typeface="+mn-ea"/>
            </a:endParaRPr>
          </a:p>
        </p:txBody>
      </p:sp>
    </p:spTree>
    <p:extLst>
      <p:ext uri="{BB962C8B-B14F-4D97-AF65-F5344CB8AC3E}">
        <p14:creationId xmlns:p14="http://schemas.microsoft.com/office/powerpoint/2010/main" val="3820551347"/>
      </p:ext>
    </p:extLst>
  </p:cSld>
  <p:clrMapOvr>
    <a:masterClrMapping/>
  </p:clrMapOvr>
  <p:extLst>
    <p:ext uri="{DCECCB84-F9BA-43D5-87BE-67443E8EF086}">
      <p15:sldGuideLst xmlns:p15="http://schemas.microsoft.com/office/powerpoint/2012/main">
        <p15:guide id="1" pos="4059">
          <p15:clr>
            <a:srgbClr val="000000"/>
          </p15:clr>
        </p15:guide>
        <p15:guide id="2" orient="horz" pos="582">
          <p15:clr>
            <a:srgbClr val="000000"/>
          </p15:clr>
        </p15:guide>
        <p15:guide id="3" orient="horz" pos="3991">
          <p15:clr>
            <a:srgbClr val="000000"/>
          </p15:clr>
        </p15:guide>
        <p15:guide id="4" pos="73">
          <p15:clr>
            <a:srgbClr val="00000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BC116F-7818-4B17-99C1-91F04B526830}"/>
              </a:ext>
            </a:extLst>
          </p:cNvPr>
          <p:cNvGraphicFramePr>
            <a:graphicFrameLocks noChangeAspect="1"/>
          </p:cNvGraphicFramePr>
          <p:nvPr>
            <p:custDataLst>
              <p:tags r:id="rId1"/>
            </p:custDataLst>
            <p:extLst>
              <p:ext uri="{D42A27DB-BD31-4B8C-83A1-F6EECF244321}">
                <p14:modId xmlns:p14="http://schemas.microsoft.com/office/powerpoint/2010/main" val="4022458473"/>
              </p:ext>
            </p:extLst>
          </p:nvPr>
        </p:nvGraphicFramePr>
        <p:xfrm>
          <a:off x="2306" y="2312"/>
          <a:ext cx="2303" cy="2303"/>
        </p:xfrm>
        <a:graphic>
          <a:graphicData uri="http://schemas.openxmlformats.org/presentationml/2006/ole">
            <mc:AlternateContent xmlns:mc="http://schemas.openxmlformats.org/markup-compatibility/2006">
              <mc:Choice xmlns:v="urn:schemas-microsoft-com:vml" Requires="v">
                <p:oleObj name="think-cell Slide" r:id="rId4" imgW="631" imgH="631" progId="TCLayout.ActiveDocument.1">
                  <p:embed/>
                </p:oleObj>
              </mc:Choice>
              <mc:Fallback>
                <p:oleObj name="think-cell Slide" r:id="rId4" imgW="631" imgH="631" progId="TCLayout.ActiveDocument.1">
                  <p:embed/>
                  <p:pic>
                    <p:nvPicPr>
                      <p:cNvPr id="3" name="Object 2" hidden="1">
                        <a:extLst>
                          <a:ext uri="{FF2B5EF4-FFF2-40B4-BE49-F238E27FC236}">
                            <a16:creationId xmlns:a16="http://schemas.microsoft.com/office/drawing/2014/main" id="{D5BC116F-7818-4B17-99C1-91F04B526830}"/>
                          </a:ext>
                        </a:extLst>
                      </p:cNvPr>
                      <p:cNvPicPr/>
                      <p:nvPr/>
                    </p:nvPicPr>
                    <p:blipFill>
                      <a:blip r:embed="rId5"/>
                      <a:stretch>
                        <a:fillRect/>
                      </a:stretch>
                    </p:blipFill>
                    <p:spPr>
                      <a:xfrm>
                        <a:off x="2306" y="2312"/>
                        <a:ext cx="2303" cy="230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923C6D-53AF-4A28-BBE2-AC2659E069F9}"/>
              </a:ext>
            </a:extLst>
          </p:cNvPr>
          <p:cNvSpPr/>
          <p:nvPr userDrawn="1">
            <p:custDataLst>
              <p:tags r:id="rId2"/>
            </p:custDataLst>
          </p:nvPr>
        </p:nvSpPr>
        <p:spPr>
          <a:xfrm>
            <a:off x="2" y="0"/>
            <a:ext cx="172774" cy="2303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903"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D2C5234-F88E-498B-B2BA-A6B43F4E36F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2130947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4.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6.emf"/><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slideLayout" Target="../slideLayouts/slideLayout1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0.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9.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 Id="rId8" Type="http://schemas.openxmlformats.org/officeDocument/2006/relationships/theme" Target="../theme/theme4.xml"/><Relationship Id="rId3"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Grafik 2" descr="Ein Bild, das Screenshot enthält.&#10;&#10;Automatisch generierte Beschreibung">
            <a:extLst>
              <a:ext uri="{FF2B5EF4-FFF2-40B4-BE49-F238E27FC236}">
                <a16:creationId xmlns:a16="http://schemas.microsoft.com/office/drawing/2014/main" id="{9FB7D811-0B2B-B540-A5FF-9658F8D1AA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3004800" cy="9753600"/>
          </a:xfrm>
          <a:prstGeom prst="rect">
            <a:avLst/>
          </a:prstGeom>
        </p:spPr>
      </p:pic>
    </p:spTree>
  </p:cSld>
  <p:clrMap bg1="dk1" tx1="lt1" bg2="dk2" tx2="lt2" accent1="accent1" accent2="accent2" accent3="accent3" accent4="accent4" accent5="accent5" accent6="accent6" hlink="hlink" folHlink="folHlink"/>
  <p:sldLayoutIdLst>
    <p:sldLayoutId id="2147483660" r:id="rId1"/>
  </p:sldLayoutIdLst>
  <p:transition spd="med"/>
  <p:hf hdr="0" dt="0"/>
  <p:txStyles>
    <p:titleStyle>
      <a:lvl1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1pPr>
      <a:lvl2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2pPr>
      <a:lvl3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3pPr>
      <a:lvl4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4pPr>
      <a:lvl5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5pPr>
      <a:lvl6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6pPr>
      <a:lvl7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7pPr>
      <a:lvl8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8pPr>
      <a:lvl9pPr marL="0" marR="0" indent="0" algn="ctr" defTabSz="584200" rtl="0" eaLnBrk="1" latinLnBrk="0" hangingPunct="1">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9pPr>
    </p:titleStyle>
    <p:bodyStyle>
      <a:lvl1pPr marL="4445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1pPr>
      <a:lvl2pPr marL="8890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2pPr>
      <a:lvl3pPr marL="13335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3pPr>
      <a:lvl4pPr marL="17780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4pPr>
      <a:lvl5pPr marL="22225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5pPr>
      <a:lvl6pPr marL="26670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6pPr>
      <a:lvl7pPr marL="31115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7pPr>
      <a:lvl8pPr marL="35560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8pPr>
      <a:lvl9pPr marL="4000500" marR="0" indent="-444500" algn="l" defTabSz="584200" rtl="0" eaLnBrk="1" latinLnBrk="0" hangingPunct="1">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9pPr>
    </p:bodyStyle>
    <p:otherStyle>
      <a:lvl1pPr marL="0" marR="0" indent="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1pPr>
      <a:lvl2pPr marL="0" marR="0" indent="2286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2pPr>
      <a:lvl3pPr marL="0" marR="0" indent="4572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3pPr>
      <a:lvl4pPr marL="0" marR="0" indent="6858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4pPr>
      <a:lvl5pPr marL="0" marR="0" indent="9144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5pPr>
      <a:lvl6pPr marL="0" marR="0" indent="11430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6pPr>
      <a:lvl7pPr marL="0" marR="0" indent="13716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7pPr>
      <a:lvl8pPr marL="0" marR="0" indent="16002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8pPr>
      <a:lvl9pPr marL="0" marR="0" indent="1828800" algn="ctr" defTabSz="58420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descr="Ein Bild, das Screenshot enthält.&#10;&#10;Automatisch generierte Beschreibung">
            <a:extLst>
              <a:ext uri="{FF2B5EF4-FFF2-40B4-BE49-F238E27FC236}">
                <a16:creationId xmlns:a16="http://schemas.microsoft.com/office/drawing/2014/main" id="{6195D86A-C60A-FD4D-BE22-679456CB53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6934" y="-8467"/>
            <a:ext cx="13004800" cy="9753600"/>
          </a:xfrm>
          <a:prstGeom prst="rect">
            <a:avLst/>
          </a:prstGeom>
        </p:spPr>
      </p:pic>
    </p:spTree>
    <p:extLst>
      <p:ext uri="{BB962C8B-B14F-4D97-AF65-F5344CB8AC3E}">
        <p14:creationId xmlns:p14="http://schemas.microsoft.com/office/powerpoint/2010/main" val="75341766"/>
      </p:ext>
    </p:extLst>
  </p:cSld>
  <p:clrMap bg1="lt1" tx1="dk1" bg2="lt2" tx2="dk2" accent1="accent1" accent2="accent2" accent3="accent3" accent4="accent4" accent5="accent5" accent6="accent6" hlink="hlink" folHlink="folHlink"/>
  <p:sldLayoutIdLst>
    <p:sldLayoutId id="2147483662" r:id="rId1"/>
    <p:sldLayoutId id="2147483696" r:id="rId2"/>
    <p:sldLayoutId id="2147483697"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pic>
        <p:nvPicPr>
          <p:cNvPr id="4" name="Grafik 3" descr="Ein Bild, das Screenshot enthält.&#10;&#10;Automatisch generierte Beschreibung">
            <a:extLst>
              <a:ext uri="{FF2B5EF4-FFF2-40B4-BE49-F238E27FC236}">
                <a16:creationId xmlns:a16="http://schemas.microsoft.com/office/drawing/2014/main" id="{0FF9CFC1-1D8B-CC4E-958C-E434A12E4D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3004800" cy="9753600"/>
          </a:xfrm>
          <a:prstGeom prst="rect">
            <a:avLst/>
          </a:prstGeom>
        </p:spPr>
      </p:pic>
    </p:spTree>
    <p:extLst>
      <p:ext uri="{BB962C8B-B14F-4D97-AF65-F5344CB8AC3E}">
        <p14:creationId xmlns:p14="http://schemas.microsoft.com/office/powerpoint/2010/main" val="3712158445"/>
      </p:ext>
    </p:extLst>
  </p:cSld>
  <p:clrMap bg1="dk1" tx1="lt1" bg2="dk2" tx2="lt2" accent1="accent1" accent2="accent2" accent3="accent3" accent4="accent4" accent5="accent5" accent6="accent6" hlink="hlink" folHlink="folHlink"/>
  <p:sldLayoutIdLst>
    <p:sldLayoutId id="2147483665" r:id="rId1"/>
  </p:sldLayoutIdLst>
  <p:transition spd="med"/>
  <p:hf hdr="0" dt="0"/>
  <p:txStyles>
    <p:titleStyle>
      <a:lvl1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1pPr>
      <a:lvl2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2pPr>
      <a:lvl3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3pPr>
      <a:lvl4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4pPr>
      <a:lvl5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5pPr>
      <a:lvl6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6pPr>
      <a:lvl7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7pPr>
      <a:lvl8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8pPr>
      <a:lvl9pPr marL="0" marR="0" indent="0" algn="ctr" defTabSz="584200" rtl="0" latinLnBrk="0">
        <a:lnSpc>
          <a:spcPct val="100000"/>
        </a:lnSpc>
        <a:spcBef>
          <a:spcPts val="0"/>
        </a:spcBef>
        <a:spcAft>
          <a:spcPts val="0"/>
        </a:spcAft>
        <a:buClrTx/>
        <a:buSzTx/>
        <a:buFontTx/>
        <a:buNone/>
        <a:tabLst/>
        <a:defRPr sz="8000" b="0" i="0" u="none" strike="noStrike" cap="none" spc="0" baseline="0">
          <a:solidFill>
            <a:srgbClr val="FFFFFF"/>
          </a:solidFill>
          <a:uFillTx/>
          <a:latin typeface="+mn-lt"/>
          <a:ea typeface="+mn-ea"/>
          <a:cs typeface="+mn-cs"/>
          <a:sym typeface="Helvetica Neue Medium"/>
        </a:defRPr>
      </a:lvl9pPr>
    </p:titleStyle>
    <p:bodyStyle>
      <a:lvl1pPr marL="4445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1pPr>
      <a:lvl2pPr marL="8890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2pPr>
      <a:lvl3pPr marL="13335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3pPr>
      <a:lvl4pPr marL="17780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4pPr>
      <a:lvl5pPr marL="22225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5pPr>
      <a:lvl6pPr marL="26670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6pPr>
      <a:lvl7pPr marL="31115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7pPr>
      <a:lvl8pPr marL="35560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8pPr>
      <a:lvl9pPr marL="4000500" marR="0" indent="-444500" algn="l" defTabSz="584200" rtl="0" latinLnBrk="0">
        <a:lnSpc>
          <a:spcPct val="100000"/>
        </a:lnSpc>
        <a:spcBef>
          <a:spcPts val="4200"/>
        </a:spcBef>
        <a:spcAft>
          <a:spcPts val="0"/>
        </a:spcAft>
        <a:buClr>
          <a:srgbClr val="FFFFFF"/>
        </a:buClr>
        <a:buSzPct val="145000"/>
        <a:buFontTx/>
        <a:buChar char="•"/>
        <a:tabLst/>
        <a:defRPr sz="3200" b="0" i="0" u="none" strike="noStrike" cap="none" spc="0" baseline="0">
          <a:solidFill>
            <a:srgbClr val="FFFFFF"/>
          </a:solidFill>
          <a:uFillTx/>
          <a:latin typeface="Helvetica Neue"/>
          <a:ea typeface="Helvetica Neue"/>
          <a:cs typeface="Helvetica Neue"/>
          <a:sym typeface="Helvetica Neue"/>
        </a:defRPr>
      </a:lvl9pPr>
    </p:bodyStyle>
    <p:otherStyle>
      <a:lvl1pPr marL="0" marR="0" indent="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1pPr>
      <a:lvl2pPr marL="0" marR="0" indent="2286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2pPr>
      <a:lvl3pPr marL="0" marR="0" indent="4572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3pPr>
      <a:lvl4pPr marL="0" marR="0" indent="6858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4pPr>
      <a:lvl5pPr marL="0" marR="0" indent="9144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5pPr>
      <a:lvl6pPr marL="0" marR="0" indent="11430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6pPr>
      <a:lvl7pPr marL="0" marR="0" indent="13716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7pPr>
      <a:lvl8pPr marL="0" marR="0" indent="16002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8pPr>
      <a:lvl9pPr marL="0" marR="0" indent="1828800" algn="ctr" defTabSz="584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6065081"/>
              </p:ext>
            </p:extLst>
          </p:nvPr>
        </p:nvGraphicFramePr>
        <p:xfrm>
          <a:off x="0" y="0"/>
          <a:ext cx="230377" cy="230363"/>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30377" cy="230363"/>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30377" cy="230363"/>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483" b="1"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11459132" y="2816068"/>
            <a:ext cx="2888611" cy="1338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70" baseline="0">
                <a:solidFill>
                  <a:srgbClr val="808080"/>
                </a:solidFill>
                <a:latin typeface="+mn-lt"/>
                <a:ea typeface="+mn-ea"/>
              </a:rPr>
              <a:t>Last Modified 8/3/2020 3:30 PM Eastern Standard Time</a:t>
            </a:r>
            <a:endParaRPr lang="en-US" sz="2321" baseline="0" dirty="0">
              <a:solidFill>
                <a:srgbClr val="808080"/>
              </a:solidFill>
              <a:latin typeface="+mn-lt"/>
              <a:ea typeface="+mn-ea"/>
            </a:endParaRPr>
          </a:p>
        </p:txBody>
      </p:sp>
      <p:sp>
        <p:nvSpPr>
          <p:cNvPr id="1035" name="Printed" hidden="1"/>
          <p:cNvSpPr txBox="1">
            <a:spLocks noChangeArrowheads="1"/>
          </p:cNvSpPr>
          <p:nvPr/>
        </p:nvSpPr>
        <p:spPr bwMode="gray">
          <a:xfrm rot="5400000">
            <a:off x="11388600" y="5970530"/>
            <a:ext cx="3029676" cy="1338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70" baseline="0">
                <a:solidFill>
                  <a:srgbClr val="808080"/>
                </a:solidFill>
                <a:latin typeface="+mn-lt"/>
                <a:ea typeface="+mn-ea"/>
              </a:rPr>
              <a:t>Printed 2018/10/03 14:07 W. Central Africa Standard Time</a:t>
            </a:r>
            <a:endParaRPr lang="en-US" sz="2321"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72788" y="334033"/>
            <a:ext cx="12507183" cy="53594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72968" y="109949"/>
            <a:ext cx="727763"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161"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72788" y="805178"/>
            <a:ext cx="12507183" cy="3571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2321" baseline="0">
                <a:solidFill>
                  <a:schemeClr val="accent6"/>
                </a:solidFill>
                <a:latin typeface="+mn-lt"/>
                <a:ea typeface="+mn-ea"/>
              </a:rPr>
              <a:t>Subtitle</a:t>
            </a:r>
            <a:endParaRPr lang="en-US" sz="2321" baseline="0" dirty="0">
              <a:solidFill>
                <a:schemeClr val="accent6"/>
              </a:solidFill>
              <a:latin typeface="+mn-lt"/>
              <a:ea typeface="+mn-ea"/>
            </a:endParaRPr>
          </a:p>
        </p:txBody>
      </p:sp>
      <p:sp>
        <p:nvSpPr>
          <p:cNvPr id="13" name="4. Footnote" hidden="1"/>
          <p:cNvSpPr txBox="1">
            <a:spLocks noChangeArrowheads="1"/>
          </p:cNvSpPr>
          <p:nvPr/>
        </p:nvSpPr>
        <p:spPr bwMode="gray">
          <a:xfrm>
            <a:off x="172788" y="9151670"/>
            <a:ext cx="12507183"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161" baseline="0" dirty="0">
                <a:solidFill>
                  <a:schemeClr val="accent6"/>
                </a:solidFill>
                <a:latin typeface="+mn-lt"/>
                <a:ea typeface="+mn-ea"/>
              </a:rPr>
              <a:t>1 Footnote</a:t>
            </a:r>
          </a:p>
        </p:txBody>
      </p:sp>
      <p:sp>
        <p:nvSpPr>
          <p:cNvPr id="14" name="5. Source" hidden="1"/>
          <p:cNvSpPr>
            <a:spLocks noChangeArrowheads="1"/>
          </p:cNvSpPr>
          <p:nvPr/>
        </p:nvSpPr>
        <p:spPr bwMode="gray">
          <a:xfrm>
            <a:off x="172786" y="9444234"/>
            <a:ext cx="10448609" cy="1786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4618" indent="-884618" defTabSz="1299282">
              <a:tabLst>
                <a:tab pos="914564" algn="l"/>
              </a:tabLst>
            </a:pPr>
            <a:r>
              <a:rPr lang="en-US" sz="1161"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2107958" y="2831667"/>
            <a:ext cx="6243226" cy="1563162"/>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107954" y="1829749"/>
            <a:ext cx="6187935" cy="732556"/>
            <a:chOff x="915" y="712"/>
            <a:chExt cx="2686" cy="31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2"/>
              <a:ext cx="2686" cy="318"/>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2321" b="1" baseline="0" dirty="0">
                  <a:solidFill>
                    <a:srgbClr val="000000"/>
                  </a:solidFill>
                  <a:latin typeface="+mn-lt"/>
                  <a:ea typeface="+mn-ea"/>
                </a:rPr>
                <a:t>Title</a:t>
              </a:r>
            </a:p>
            <a:p>
              <a:r>
                <a:rPr lang="en-US" sz="2321" baseline="0" dirty="0">
                  <a:solidFill>
                    <a:schemeClr val="accent6"/>
                  </a:solidFill>
                  <a:latin typeface="+mn-lt"/>
                  <a:ea typeface="+mn-ea"/>
                </a:rPr>
                <a:t>Unit of measure</a:t>
              </a:r>
            </a:p>
          </p:txBody>
        </p:sp>
      </p:grpSp>
      <p:grpSp>
        <p:nvGrpSpPr>
          <p:cNvPr id="17" name="Sticker" hidden="1"/>
          <p:cNvGrpSpPr/>
          <p:nvPr/>
        </p:nvGrpSpPr>
        <p:grpSpPr bwMode="gray">
          <a:xfrm>
            <a:off x="11998221" y="414662"/>
            <a:ext cx="681726" cy="206340"/>
            <a:chOff x="8271007" y="285750"/>
            <a:chExt cx="469768" cy="142194"/>
          </a:xfrm>
        </p:grpSpPr>
        <p:sp>
          <p:nvSpPr>
            <p:cNvPr id="20" name="StickerRectangle"/>
            <p:cNvSpPr>
              <a:spLocks noChangeArrowheads="1"/>
            </p:cNvSpPr>
            <p:nvPr/>
          </p:nvSpPr>
          <p:spPr bwMode="gray">
            <a:xfrm>
              <a:off x="8271007" y="285750"/>
              <a:ext cx="469768" cy="142194"/>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9282">
                <a:buClr>
                  <a:srgbClr val="002960"/>
                </a:buClr>
              </a:pPr>
              <a:r>
                <a:rPr lang="en-US" sz="1161"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71007" y="285750"/>
              <a:ext cx="0" cy="14219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71007" y="427944"/>
              <a:ext cx="469768"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sp>
        <p:nvSpPr>
          <p:cNvPr id="24" name="SlideBottomBar" hidden="1"/>
          <p:cNvSpPr/>
          <p:nvPr/>
        </p:nvSpPr>
        <p:spPr>
          <a:xfrm>
            <a:off x="12348228" y="9181672"/>
            <a:ext cx="66347"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21" baseline="0" dirty="0">
              <a:solidFill>
                <a:schemeClr val="tx1"/>
              </a:solidFill>
              <a:latin typeface="+mn-lt"/>
              <a:ea typeface="+mn-ea"/>
            </a:endParaRPr>
          </a:p>
        </p:txBody>
      </p:sp>
      <p:sp>
        <p:nvSpPr>
          <p:cNvPr id="23" name="doc id" hidden="1"/>
          <p:cNvSpPr>
            <a:spLocks noChangeArrowheads="1"/>
          </p:cNvSpPr>
          <p:nvPr/>
        </p:nvSpPr>
        <p:spPr bwMode="auto">
          <a:xfrm>
            <a:off x="11728513" y="73724"/>
            <a:ext cx="953762" cy="1773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82"/>
            <a:endParaRPr lang="en-US" sz="1161" baseline="0" dirty="0">
              <a:solidFill>
                <a:srgbClr val="808080"/>
              </a:solidFill>
              <a:latin typeface="+mn-lt"/>
              <a:ea typeface="+mn-ea"/>
            </a:endParaRPr>
          </a:p>
        </p:txBody>
      </p:sp>
      <p:grpSp>
        <p:nvGrpSpPr>
          <p:cNvPr id="59" name="LegendLines" hidden="1"/>
          <p:cNvGrpSpPr/>
          <p:nvPr/>
        </p:nvGrpSpPr>
        <p:grpSpPr>
          <a:xfrm>
            <a:off x="10947264" y="395218"/>
            <a:ext cx="1723845" cy="1104975"/>
            <a:chOff x="7607284" y="279400"/>
            <a:chExt cx="1187878" cy="761468"/>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2321"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2321"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2321" baseline="0" dirty="0">
                <a:latin typeface="+mn-lt"/>
                <a:ea typeface="+mn-ea"/>
              </a:endParaRPr>
            </a:p>
          </p:txBody>
        </p:sp>
        <p:sp>
          <p:nvSpPr>
            <p:cNvPr id="100" name="Legend1"/>
            <p:cNvSpPr>
              <a:spLocks noChangeArrowheads="1"/>
            </p:cNvSpPr>
            <p:nvPr>
              <p:custDataLst>
                <p:tags r:id="rId35"/>
              </p:custDataLst>
            </p:nvPr>
          </p:nvSpPr>
          <p:spPr bwMode="gray">
            <a:xfrm>
              <a:off x="8158907" y="279400"/>
              <a:ext cx="636254"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01" name="Legend2"/>
            <p:cNvSpPr>
              <a:spLocks noChangeArrowheads="1"/>
            </p:cNvSpPr>
            <p:nvPr>
              <p:custDataLst>
                <p:tags r:id="rId36"/>
              </p:custDataLst>
            </p:nvPr>
          </p:nvSpPr>
          <p:spPr bwMode="gray">
            <a:xfrm>
              <a:off x="8158908" y="546100"/>
              <a:ext cx="636254"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02" name="Legend3"/>
            <p:cNvSpPr>
              <a:spLocks noChangeArrowheads="1"/>
            </p:cNvSpPr>
            <p:nvPr>
              <p:custDataLst>
                <p:tags r:id="rId37"/>
              </p:custDataLst>
            </p:nvPr>
          </p:nvSpPr>
          <p:spPr bwMode="gray">
            <a:xfrm>
              <a:off x="8158908" y="825501"/>
              <a:ext cx="636254"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grpSp>
      <p:grpSp>
        <p:nvGrpSpPr>
          <p:cNvPr id="103" name="LegendBoxes" hidden="1"/>
          <p:cNvGrpSpPr/>
          <p:nvPr/>
        </p:nvGrpSpPr>
        <p:grpSpPr>
          <a:xfrm>
            <a:off x="11394212" y="395372"/>
            <a:ext cx="1276914" cy="1491985"/>
            <a:chOff x="5894005" y="919828"/>
            <a:chExt cx="879905" cy="1028168"/>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08" name="Legend1"/>
            <p:cNvSpPr>
              <a:spLocks noChangeArrowheads="1"/>
            </p:cNvSpPr>
            <p:nvPr>
              <p:custDataLst>
                <p:tags r:id="rId31"/>
              </p:custDataLst>
            </p:nvPr>
          </p:nvSpPr>
          <p:spPr bwMode="gray">
            <a:xfrm>
              <a:off x="6137655" y="919828"/>
              <a:ext cx="636255"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09" name="Legend2"/>
            <p:cNvSpPr>
              <a:spLocks noChangeArrowheads="1"/>
            </p:cNvSpPr>
            <p:nvPr>
              <p:custDataLst>
                <p:tags r:id="rId32"/>
              </p:custDataLst>
            </p:nvPr>
          </p:nvSpPr>
          <p:spPr bwMode="gray">
            <a:xfrm>
              <a:off x="6137655" y="1189703"/>
              <a:ext cx="636255"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10" name="Legend3"/>
            <p:cNvSpPr>
              <a:spLocks noChangeArrowheads="1"/>
            </p:cNvSpPr>
            <p:nvPr>
              <p:custDataLst>
                <p:tags r:id="rId33"/>
              </p:custDataLst>
            </p:nvPr>
          </p:nvSpPr>
          <p:spPr bwMode="gray">
            <a:xfrm>
              <a:off x="6137655" y="1461166"/>
              <a:ext cx="636255"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11" name="Legend4"/>
            <p:cNvSpPr>
              <a:spLocks noChangeArrowheads="1"/>
            </p:cNvSpPr>
            <p:nvPr>
              <p:custDataLst>
                <p:tags r:id="rId34"/>
              </p:custDataLst>
            </p:nvPr>
          </p:nvSpPr>
          <p:spPr bwMode="gray">
            <a:xfrm>
              <a:off x="6137655" y="1732629"/>
              <a:ext cx="636255" cy="2153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grpSp>
      <p:grpSp>
        <p:nvGrpSpPr>
          <p:cNvPr id="112" name="LegendMoons" hidden="1"/>
          <p:cNvGrpSpPr/>
          <p:nvPr/>
        </p:nvGrpSpPr>
        <p:grpSpPr>
          <a:xfrm>
            <a:off x="11297448" y="394633"/>
            <a:ext cx="1373671" cy="1911005"/>
            <a:chOff x="5894005" y="2695123"/>
            <a:chExt cx="946579" cy="1316926"/>
          </a:xfrm>
        </p:grpSpPr>
        <p:grpSp>
          <p:nvGrpSpPr>
            <p:cNvPr id="113" name="MoonLegend1"/>
            <p:cNvGrpSpPr>
              <a:grpSpLocks noChangeAspect="1"/>
            </p:cNvGrpSpPr>
            <p:nvPr>
              <p:custDataLst>
                <p:tags r:id="rId11"/>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32" name="Arc 131" hidden="1"/>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grpSp>
        <p:grpSp>
          <p:nvGrpSpPr>
            <p:cNvPr id="114" name="MoonLegend2"/>
            <p:cNvGrpSpPr>
              <a:grpSpLocks noChangeAspect="1"/>
            </p:cNvGrpSpPr>
            <p:nvPr>
              <p:custDataLst>
                <p:tags r:id="rId12"/>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30" name="Arc 42"/>
              <p:cNvSpPr>
                <a:spLocks noChangeAspect="1"/>
              </p:cNvSpPr>
              <p:nvPr>
                <p:custDataLst>
                  <p:tags r:id="rId28"/>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grpSp>
        <p:grpSp>
          <p:nvGrpSpPr>
            <p:cNvPr id="115" name="MoonLegend4"/>
            <p:cNvGrpSpPr>
              <a:grpSpLocks noChangeAspect="1"/>
            </p:cNvGrpSpPr>
            <p:nvPr>
              <p:custDataLst>
                <p:tags r:id="rId13"/>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28" name="Arc 48"/>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grpSp>
        <p:grpSp>
          <p:nvGrpSpPr>
            <p:cNvPr id="116" name="MoonLegend5"/>
            <p:cNvGrpSpPr>
              <a:grpSpLocks noChangeAspect="1"/>
            </p:cNvGrpSpPr>
            <p:nvPr>
              <p:custDataLst>
                <p:tags r:id="rId14"/>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26" name="Oval 51"/>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grpSp>
        <p:grpSp>
          <p:nvGrpSpPr>
            <p:cNvPr id="117" name="MoonLegend3"/>
            <p:cNvGrpSpPr>
              <a:grpSpLocks noChangeAspect="1"/>
            </p:cNvGrpSpPr>
            <p:nvPr>
              <p:custDataLst>
                <p:tags r:id="rId15"/>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sp>
            <p:nvSpPr>
              <p:cNvPr id="124" name="Arc 48"/>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2321" baseline="0" dirty="0">
                  <a:latin typeface="+mn-lt"/>
                  <a:ea typeface="+mn-ea"/>
                </a:endParaRPr>
              </a:p>
            </p:txBody>
          </p:sp>
        </p:grpSp>
        <p:sp>
          <p:nvSpPr>
            <p:cNvPr id="118" name="Legend1"/>
            <p:cNvSpPr>
              <a:spLocks noChangeArrowheads="1"/>
            </p:cNvSpPr>
            <p:nvPr>
              <p:custDataLst>
                <p:tags r:id="rId16"/>
              </p:custDataLst>
            </p:nvPr>
          </p:nvSpPr>
          <p:spPr bwMode="gray">
            <a:xfrm>
              <a:off x="6204328" y="2696542"/>
              <a:ext cx="636255" cy="21536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19" name="Legend2"/>
            <p:cNvSpPr>
              <a:spLocks noChangeArrowheads="1"/>
            </p:cNvSpPr>
            <p:nvPr>
              <p:custDataLst>
                <p:tags r:id="rId17"/>
              </p:custDataLst>
            </p:nvPr>
          </p:nvSpPr>
          <p:spPr bwMode="gray">
            <a:xfrm>
              <a:off x="6204329" y="2974156"/>
              <a:ext cx="636255" cy="21536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20" name="Legend3"/>
            <p:cNvSpPr>
              <a:spLocks noChangeArrowheads="1"/>
            </p:cNvSpPr>
            <p:nvPr>
              <p:custDataLst>
                <p:tags r:id="rId18"/>
              </p:custDataLst>
            </p:nvPr>
          </p:nvSpPr>
          <p:spPr bwMode="gray">
            <a:xfrm>
              <a:off x="6204329" y="3248596"/>
              <a:ext cx="636255" cy="21536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21" name="Legend4"/>
            <p:cNvSpPr>
              <a:spLocks noChangeArrowheads="1"/>
            </p:cNvSpPr>
            <p:nvPr>
              <p:custDataLst>
                <p:tags r:id="rId19"/>
              </p:custDataLst>
            </p:nvPr>
          </p:nvSpPr>
          <p:spPr bwMode="gray">
            <a:xfrm>
              <a:off x="6204329" y="3521448"/>
              <a:ext cx="636255" cy="21536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sp>
          <p:nvSpPr>
            <p:cNvPr id="122" name="Legend5"/>
            <p:cNvSpPr>
              <a:spLocks noChangeArrowheads="1"/>
            </p:cNvSpPr>
            <p:nvPr>
              <p:custDataLst>
                <p:tags r:id="rId20"/>
              </p:custDataLst>
            </p:nvPr>
          </p:nvSpPr>
          <p:spPr bwMode="gray">
            <a:xfrm>
              <a:off x="6204329" y="3796682"/>
              <a:ext cx="636255" cy="21536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299282">
                <a:buClr>
                  <a:schemeClr val="tx2"/>
                </a:buClr>
              </a:pPr>
              <a:r>
                <a:rPr lang="en-US" sz="2031" baseline="0" dirty="0">
                  <a:latin typeface="+mn-lt"/>
                  <a:ea typeface="+mn-ea"/>
                </a:rPr>
                <a:t>Legend</a:t>
              </a:r>
            </a:p>
          </p:txBody>
        </p:sp>
      </p:grpSp>
    </p:spTree>
    <p:extLst>
      <p:ext uri="{BB962C8B-B14F-4D97-AF65-F5344CB8AC3E}">
        <p14:creationId xmlns:p14="http://schemas.microsoft.com/office/powerpoint/2010/main" val="256016215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Lst>
  <p:hf hdr="0" dt="0"/>
  <p:txStyles>
    <p:titleStyle>
      <a:lvl1pPr algn="l" defTabSz="1299282" rtl="0" eaLnBrk="1" fontAlgn="base" hangingPunct="1">
        <a:spcBef>
          <a:spcPct val="0"/>
        </a:spcBef>
        <a:spcAft>
          <a:spcPct val="0"/>
        </a:spcAft>
        <a:tabLst>
          <a:tab pos="391627" algn="l"/>
        </a:tabLst>
        <a:defRPr sz="3483" b="1" baseline="0">
          <a:solidFill>
            <a:schemeClr val="tx2"/>
          </a:solidFill>
          <a:latin typeface="+mj-lt"/>
          <a:ea typeface="+mj-ea"/>
          <a:cs typeface="+mj-cs"/>
        </a:defRPr>
      </a:lvl1pPr>
      <a:lvl2pPr algn="l" defTabSz="1299282" rtl="0" eaLnBrk="1" fontAlgn="base" hangingPunct="1">
        <a:spcBef>
          <a:spcPct val="0"/>
        </a:spcBef>
        <a:spcAft>
          <a:spcPct val="0"/>
        </a:spcAft>
        <a:defRPr sz="2758" b="1">
          <a:solidFill>
            <a:schemeClr val="tx2"/>
          </a:solidFill>
          <a:latin typeface="Arial" charset="0"/>
        </a:defRPr>
      </a:lvl2pPr>
      <a:lvl3pPr algn="l" defTabSz="1299282" rtl="0" eaLnBrk="1" fontAlgn="base" hangingPunct="1">
        <a:spcBef>
          <a:spcPct val="0"/>
        </a:spcBef>
        <a:spcAft>
          <a:spcPct val="0"/>
        </a:spcAft>
        <a:defRPr sz="2758" b="1">
          <a:solidFill>
            <a:schemeClr val="tx2"/>
          </a:solidFill>
          <a:latin typeface="Arial" charset="0"/>
        </a:defRPr>
      </a:lvl3pPr>
      <a:lvl4pPr algn="l" defTabSz="1299282" rtl="0" eaLnBrk="1" fontAlgn="base" hangingPunct="1">
        <a:spcBef>
          <a:spcPct val="0"/>
        </a:spcBef>
        <a:spcAft>
          <a:spcPct val="0"/>
        </a:spcAft>
        <a:defRPr sz="2758" b="1">
          <a:solidFill>
            <a:schemeClr val="tx2"/>
          </a:solidFill>
          <a:latin typeface="Arial" charset="0"/>
        </a:defRPr>
      </a:lvl4pPr>
      <a:lvl5pPr algn="l" defTabSz="1299282" rtl="0" eaLnBrk="1" fontAlgn="base" hangingPunct="1">
        <a:spcBef>
          <a:spcPct val="0"/>
        </a:spcBef>
        <a:spcAft>
          <a:spcPct val="0"/>
        </a:spcAft>
        <a:defRPr sz="2758" b="1">
          <a:solidFill>
            <a:schemeClr val="tx2"/>
          </a:solidFill>
          <a:latin typeface="Arial" charset="0"/>
        </a:defRPr>
      </a:lvl5pPr>
      <a:lvl6pPr marL="663463" algn="l" defTabSz="1299282" rtl="0" eaLnBrk="1" fontAlgn="base" hangingPunct="1">
        <a:spcBef>
          <a:spcPct val="0"/>
        </a:spcBef>
        <a:spcAft>
          <a:spcPct val="0"/>
        </a:spcAft>
        <a:defRPr sz="2758" b="1">
          <a:solidFill>
            <a:schemeClr val="tx2"/>
          </a:solidFill>
          <a:latin typeface="Arial" charset="0"/>
        </a:defRPr>
      </a:lvl6pPr>
      <a:lvl7pPr marL="1326925" algn="l" defTabSz="1299282" rtl="0" eaLnBrk="1" fontAlgn="base" hangingPunct="1">
        <a:spcBef>
          <a:spcPct val="0"/>
        </a:spcBef>
        <a:spcAft>
          <a:spcPct val="0"/>
        </a:spcAft>
        <a:defRPr sz="2758" b="1">
          <a:solidFill>
            <a:schemeClr val="tx2"/>
          </a:solidFill>
          <a:latin typeface="Arial" charset="0"/>
        </a:defRPr>
      </a:lvl7pPr>
      <a:lvl8pPr marL="1990387" algn="l" defTabSz="1299282" rtl="0" eaLnBrk="1" fontAlgn="base" hangingPunct="1">
        <a:spcBef>
          <a:spcPct val="0"/>
        </a:spcBef>
        <a:spcAft>
          <a:spcPct val="0"/>
        </a:spcAft>
        <a:defRPr sz="2758" b="1">
          <a:solidFill>
            <a:schemeClr val="tx2"/>
          </a:solidFill>
          <a:latin typeface="Arial" charset="0"/>
        </a:defRPr>
      </a:lvl8pPr>
      <a:lvl9pPr marL="2653852" algn="l" defTabSz="1299282" rtl="0" eaLnBrk="1" fontAlgn="base" hangingPunct="1">
        <a:spcBef>
          <a:spcPct val="0"/>
        </a:spcBef>
        <a:spcAft>
          <a:spcPct val="0"/>
        </a:spcAft>
        <a:defRPr sz="2758" b="1">
          <a:solidFill>
            <a:schemeClr val="tx2"/>
          </a:solidFill>
          <a:latin typeface="Arial" charset="0"/>
        </a:defRPr>
      </a:lvl9pPr>
    </p:titleStyle>
    <p:bodyStyle>
      <a:lvl1pPr marL="0" indent="0" algn="l" defTabSz="1299282" rtl="0" eaLnBrk="1" fontAlgn="base" hangingPunct="1">
        <a:spcBef>
          <a:spcPct val="0"/>
        </a:spcBef>
        <a:spcAft>
          <a:spcPct val="0"/>
        </a:spcAft>
        <a:buClr>
          <a:schemeClr val="tx2"/>
        </a:buClr>
        <a:buSzPct val="100000"/>
        <a:defRPr sz="2031" baseline="0">
          <a:solidFill>
            <a:schemeClr val="tx1"/>
          </a:solidFill>
          <a:latin typeface="+mn-lt"/>
          <a:ea typeface="+mn-ea"/>
          <a:cs typeface="+mn-cs"/>
        </a:defRPr>
      </a:lvl1pPr>
      <a:lvl2pPr marL="281051" indent="-278748" algn="l" defTabSz="1299282" rtl="0" eaLnBrk="1" fontAlgn="base" hangingPunct="1">
        <a:spcBef>
          <a:spcPct val="0"/>
        </a:spcBef>
        <a:spcAft>
          <a:spcPct val="0"/>
        </a:spcAft>
        <a:buClr>
          <a:schemeClr val="tx2"/>
        </a:buClr>
        <a:buSzPct val="125000"/>
        <a:buFont typeface="Arial" charset="0"/>
        <a:buChar char="▪"/>
        <a:defRPr sz="2031" baseline="0">
          <a:solidFill>
            <a:schemeClr val="tx1"/>
          </a:solidFill>
          <a:latin typeface="+mn-lt"/>
        </a:defRPr>
      </a:lvl2pPr>
      <a:lvl3pPr marL="663463" indent="-380110" algn="l" defTabSz="1299282" rtl="0" eaLnBrk="1" fontAlgn="base" hangingPunct="1">
        <a:spcBef>
          <a:spcPct val="0"/>
        </a:spcBef>
        <a:spcAft>
          <a:spcPct val="0"/>
        </a:spcAft>
        <a:buClr>
          <a:schemeClr val="tx2"/>
        </a:buClr>
        <a:buSzPct val="120000"/>
        <a:buFont typeface="Arial" charset="0"/>
        <a:buChar char="–"/>
        <a:defRPr sz="2031" baseline="0">
          <a:solidFill>
            <a:schemeClr val="tx1"/>
          </a:solidFill>
          <a:latin typeface="+mn-lt"/>
        </a:defRPr>
      </a:lvl3pPr>
      <a:lvl4pPr marL="891529" indent="-225761" algn="l" defTabSz="1299282" rtl="0" eaLnBrk="1" fontAlgn="base" hangingPunct="1">
        <a:spcBef>
          <a:spcPct val="0"/>
        </a:spcBef>
        <a:spcAft>
          <a:spcPct val="0"/>
        </a:spcAft>
        <a:buClr>
          <a:schemeClr val="tx2"/>
        </a:buClr>
        <a:buSzPct val="120000"/>
        <a:buFont typeface="Arial" charset="0"/>
        <a:buChar char="▫"/>
        <a:defRPr sz="2031" baseline="0">
          <a:solidFill>
            <a:schemeClr val="tx1"/>
          </a:solidFill>
          <a:latin typeface="+mn-lt"/>
        </a:defRPr>
      </a:lvl4pPr>
      <a:lvl5pPr marL="1088080" indent="-188902" algn="l" defTabSz="129928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5pPr>
      <a:lvl6pPr marL="1088080" indent="-188902" algn="l" defTabSz="1299282" rtl="0" eaLnBrk="1" fontAlgn="base" hangingPunct="1">
        <a:spcBef>
          <a:spcPct val="0"/>
        </a:spcBef>
        <a:spcAft>
          <a:spcPct val="0"/>
        </a:spcAft>
        <a:buClr>
          <a:schemeClr val="tx2"/>
        </a:buClr>
        <a:buSzPct val="89000"/>
        <a:buFont typeface="Arial" charset="0"/>
        <a:buChar char="-"/>
        <a:defRPr sz="2321" baseline="0">
          <a:solidFill>
            <a:schemeClr val="tx1"/>
          </a:solidFill>
          <a:latin typeface="+mn-lt"/>
        </a:defRPr>
      </a:lvl6pPr>
      <a:lvl7pPr marL="1088080" indent="-188902" algn="l" defTabSz="1299282" rtl="0" eaLnBrk="1" fontAlgn="base" hangingPunct="1">
        <a:spcBef>
          <a:spcPct val="0"/>
        </a:spcBef>
        <a:spcAft>
          <a:spcPct val="0"/>
        </a:spcAft>
        <a:buClr>
          <a:schemeClr val="tx2"/>
        </a:buClr>
        <a:buSzPct val="89000"/>
        <a:buFont typeface="Arial" charset="0"/>
        <a:buChar char="-"/>
        <a:defRPr sz="2321" baseline="0">
          <a:solidFill>
            <a:schemeClr val="tx1"/>
          </a:solidFill>
          <a:latin typeface="+mn-lt"/>
        </a:defRPr>
      </a:lvl7pPr>
      <a:lvl8pPr marL="1088080" indent="-188902" algn="l" defTabSz="1299282" rtl="0" eaLnBrk="1" fontAlgn="base" hangingPunct="1">
        <a:spcBef>
          <a:spcPct val="0"/>
        </a:spcBef>
        <a:spcAft>
          <a:spcPct val="0"/>
        </a:spcAft>
        <a:buClr>
          <a:schemeClr val="tx2"/>
        </a:buClr>
        <a:buSzPct val="89000"/>
        <a:buFont typeface="Arial" charset="0"/>
        <a:buChar char="-"/>
        <a:defRPr sz="2321" baseline="0">
          <a:solidFill>
            <a:schemeClr val="tx1"/>
          </a:solidFill>
          <a:latin typeface="+mn-lt"/>
        </a:defRPr>
      </a:lvl8pPr>
      <a:lvl9pPr marL="1088080" indent="-188902" algn="l" defTabSz="1299282" rtl="0" eaLnBrk="1" fontAlgn="base" hangingPunct="1">
        <a:spcBef>
          <a:spcPct val="0"/>
        </a:spcBef>
        <a:spcAft>
          <a:spcPct val="0"/>
        </a:spcAft>
        <a:buClr>
          <a:schemeClr val="tx2"/>
        </a:buClr>
        <a:buSzPct val="89000"/>
        <a:buFont typeface="Arial" charset="0"/>
        <a:buChar char="-"/>
        <a:defRPr sz="2321" baseline="0">
          <a:solidFill>
            <a:schemeClr val="tx1"/>
          </a:solidFill>
          <a:latin typeface="+mn-lt"/>
        </a:defRPr>
      </a:lvl9pPr>
    </p:bodyStyle>
    <p:otherStyle>
      <a:defPPr>
        <a:defRPr lang="en-US"/>
      </a:defPPr>
      <a:lvl1pPr marL="0" algn="l" defTabSz="1326925" rtl="0" eaLnBrk="1" latinLnBrk="0" hangingPunct="1">
        <a:defRPr sz="2613" kern="1200">
          <a:solidFill>
            <a:schemeClr val="tx1"/>
          </a:solidFill>
          <a:latin typeface="+mn-lt"/>
          <a:ea typeface="+mn-ea"/>
          <a:cs typeface="+mn-cs"/>
        </a:defRPr>
      </a:lvl1pPr>
      <a:lvl2pPr marL="663463" algn="l" defTabSz="1326925" rtl="0" eaLnBrk="1" latinLnBrk="0" hangingPunct="1">
        <a:defRPr sz="2613" kern="1200">
          <a:solidFill>
            <a:schemeClr val="tx1"/>
          </a:solidFill>
          <a:latin typeface="+mn-lt"/>
          <a:ea typeface="+mn-ea"/>
          <a:cs typeface="+mn-cs"/>
        </a:defRPr>
      </a:lvl2pPr>
      <a:lvl3pPr marL="1326925" algn="l" defTabSz="1326925" rtl="0" eaLnBrk="1" latinLnBrk="0" hangingPunct="1">
        <a:defRPr sz="2613" kern="1200">
          <a:solidFill>
            <a:schemeClr val="tx1"/>
          </a:solidFill>
          <a:latin typeface="+mn-lt"/>
          <a:ea typeface="+mn-ea"/>
          <a:cs typeface="+mn-cs"/>
        </a:defRPr>
      </a:lvl3pPr>
      <a:lvl4pPr marL="1990387" algn="l" defTabSz="1326925" rtl="0" eaLnBrk="1" latinLnBrk="0" hangingPunct="1">
        <a:defRPr sz="2613" kern="1200">
          <a:solidFill>
            <a:schemeClr val="tx1"/>
          </a:solidFill>
          <a:latin typeface="+mn-lt"/>
          <a:ea typeface="+mn-ea"/>
          <a:cs typeface="+mn-cs"/>
        </a:defRPr>
      </a:lvl4pPr>
      <a:lvl5pPr marL="2653852" algn="l" defTabSz="1326925" rtl="0" eaLnBrk="1" latinLnBrk="0" hangingPunct="1">
        <a:defRPr sz="2613" kern="1200">
          <a:solidFill>
            <a:schemeClr val="tx1"/>
          </a:solidFill>
          <a:latin typeface="+mn-lt"/>
          <a:ea typeface="+mn-ea"/>
          <a:cs typeface="+mn-cs"/>
        </a:defRPr>
      </a:lvl5pPr>
      <a:lvl6pPr marL="3317313" algn="l" defTabSz="1326925" rtl="0" eaLnBrk="1" latinLnBrk="0" hangingPunct="1">
        <a:defRPr sz="2613" kern="1200">
          <a:solidFill>
            <a:schemeClr val="tx1"/>
          </a:solidFill>
          <a:latin typeface="+mn-lt"/>
          <a:ea typeface="+mn-ea"/>
          <a:cs typeface="+mn-cs"/>
        </a:defRPr>
      </a:lvl6pPr>
      <a:lvl7pPr marL="3980776" algn="l" defTabSz="1326925" rtl="0" eaLnBrk="1" latinLnBrk="0" hangingPunct="1">
        <a:defRPr sz="2613" kern="1200">
          <a:solidFill>
            <a:schemeClr val="tx1"/>
          </a:solidFill>
          <a:latin typeface="+mn-lt"/>
          <a:ea typeface="+mn-ea"/>
          <a:cs typeface="+mn-cs"/>
        </a:defRPr>
      </a:lvl7pPr>
      <a:lvl8pPr marL="4644238" algn="l" defTabSz="1326925" rtl="0" eaLnBrk="1" latinLnBrk="0" hangingPunct="1">
        <a:defRPr sz="2613" kern="1200">
          <a:solidFill>
            <a:schemeClr val="tx1"/>
          </a:solidFill>
          <a:latin typeface="+mn-lt"/>
          <a:ea typeface="+mn-ea"/>
          <a:cs typeface="+mn-cs"/>
        </a:defRPr>
      </a:lvl8pPr>
      <a:lvl9pPr marL="5307702" algn="l" defTabSz="1326925" rtl="0" eaLnBrk="1" latinLnBrk="0" hangingPunct="1">
        <a:defRPr sz="2613"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alpha val="97000"/>
          </a:srgbClr>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3A11F1F3-C343-0C4E-B8C3-2FCF9ED87328}"/>
              </a:ext>
            </a:extLst>
          </p:cNvPr>
          <p:cNvSpPr txBox="1"/>
          <p:nvPr/>
        </p:nvSpPr>
        <p:spPr>
          <a:xfrm>
            <a:off x="509846" y="5376153"/>
            <a:ext cx="11490960"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spcBef>
                <a:spcPct val="0"/>
              </a:spcBef>
              <a:defRPr/>
            </a:pPr>
            <a:r>
              <a:rPr lang="fr-FR" altLang="en-NG" sz="4800" dirty="0">
                <a:solidFill>
                  <a:schemeClr val="tx1"/>
                </a:solidFill>
                <a:latin typeface="Source Sans Pro" panose="020B0503030403020204" pitchFamily="34" charset="0"/>
                <a:ea typeface="Source Sans Pro" panose="020B0503030403020204" pitchFamily="34" charset="0"/>
              </a:rPr>
              <a:t>État d'avancement</a:t>
            </a:r>
            <a:endParaRPr lang="fr-FR" sz="3200" dirty="0">
              <a:solidFill>
                <a:schemeClr val="tx1"/>
              </a:solidFill>
              <a:latin typeface="Source Sans Pro" panose="020B0503030403020204" pitchFamily="34" charset="0"/>
              <a:ea typeface="Source Sans Pro" panose="020B0503030403020204" pitchFamily="34" charset="0"/>
            </a:endParaRPr>
          </a:p>
        </p:txBody>
      </p:sp>
      <p:sp>
        <p:nvSpPr>
          <p:cNvPr id="4" name="Textfeld 2">
            <a:extLst>
              <a:ext uri="{FF2B5EF4-FFF2-40B4-BE49-F238E27FC236}">
                <a16:creationId xmlns:a16="http://schemas.microsoft.com/office/drawing/2014/main" id="{33B938C1-DE6A-4046-8B60-DBBB15897FC5}"/>
              </a:ext>
            </a:extLst>
          </p:cNvPr>
          <p:cNvSpPr txBox="1"/>
          <p:nvPr/>
        </p:nvSpPr>
        <p:spPr>
          <a:xfrm>
            <a:off x="627613" y="6850537"/>
            <a:ext cx="11353800" cy="12926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spcBef>
                <a:spcPct val="0"/>
              </a:spcBef>
              <a:defRPr/>
            </a:pPr>
            <a:r>
              <a:rPr lang="fr-FR" sz="2800" b="0" dirty="0">
                <a:solidFill>
                  <a:schemeClr val="tx1"/>
                </a:solidFill>
                <a:latin typeface="Source Sans Pro" panose="020B0503030403020204" pitchFamily="34" charset="0"/>
                <a:ea typeface="Source Sans Pro" panose="020B0503030403020204" pitchFamily="34" charset="0"/>
              </a:rPr>
              <a:t>Harvey DE HARDT-KAFFILS</a:t>
            </a:r>
          </a:p>
          <a:p>
            <a:pPr>
              <a:spcBef>
                <a:spcPct val="0"/>
              </a:spcBef>
              <a:defRPr/>
            </a:pPr>
            <a:r>
              <a:rPr lang="fr-FR" sz="2800" b="0" dirty="0">
                <a:solidFill>
                  <a:schemeClr val="tx1"/>
                </a:solidFill>
                <a:latin typeface="Source Sans Pro" panose="020B0503030403020204" pitchFamily="34" charset="0"/>
                <a:ea typeface="Source Sans Pro" panose="020B0503030403020204" pitchFamily="34" charset="0"/>
              </a:rPr>
              <a:t>Spécialiste en Communication</a:t>
            </a:r>
          </a:p>
          <a:p>
            <a:pPr>
              <a:spcBef>
                <a:spcPct val="0"/>
              </a:spcBef>
              <a:defRPr/>
            </a:pPr>
            <a:r>
              <a:rPr lang="fr-FR" sz="2800" b="0" dirty="0">
                <a:solidFill>
                  <a:schemeClr val="tx1"/>
                </a:solidFill>
                <a:latin typeface="Source Sans Pro" panose="020B0503030403020204" pitchFamily="34" charset="0"/>
                <a:ea typeface="Source Sans Pro" panose="020B0503030403020204" pitchFamily="34" charset="0"/>
              </a:rPr>
              <a:t>Projet WURI-CEDEAO</a:t>
            </a:r>
          </a:p>
        </p:txBody>
      </p:sp>
      <p:sp>
        <p:nvSpPr>
          <p:cNvPr id="6" name="TextBox 5">
            <a:extLst>
              <a:ext uri="{FF2B5EF4-FFF2-40B4-BE49-F238E27FC236}">
                <a16:creationId xmlns:a16="http://schemas.microsoft.com/office/drawing/2014/main" id="{D4FAD791-7ECC-7D7D-DB1B-BD0E26A6DB28}"/>
              </a:ext>
            </a:extLst>
          </p:cNvPr>
          <p:cNvSpPr txBox="1"/>
          <p:nvPr/>
        </p:nvSpPr>
        <p:spPr>
          <a:xfrm>
            <a:off x="831272" y="2505925"/>
            <a:ext cx="10848109"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fr-FR" sz="2800" b="1" dirty="0">
                <a:latin typeface="Source Sans Pro" panose="020B0503030403020204" pitchFamily="34" charset="0"/>
              </a:rPr>
              <a:t>15ème Réunion du Comité de Coordination du Programme WURI</a:t>
            </a:r>
            <a:r>
              <a:rPr lang="fr-FR" sz="2800" b="1" dirty="0">
                <a:latin typeface="Source Sans Pro" panose="020B0503030403020204" pitchFamily="34" charset="0"/>
                <a:cs typeface="Arial" panose="020B0604020202020204" pitchFamily="34" charset="0"/>
              </a:rPr>
              <a:t> </a:t>
            </a:r>
          </a:p>
        </p:txBody>
      </p:sp>
      <p:sp>
        <p:nvSpPr>
          <p:cNvPr id="8" name="TextBox 7">
            <a:extLst>
              <a:ext uri="{FF2B5EF4-FFF2-40B4-BE49-F238E27FC236}">
                <a16:creationId xmlns:a16="http://schemas.microsoft.com/office/drawing/2014/main" id="{3B1BFDA6-CAF3-10F9-C857-09D580BAFEC1}"/>
              </a:ext>
            </a:extLst>
          </p:cNvPr>
          <p:cNvSpPr txBox="1"/>
          <p:nvPr/>
        </p:nvSpPr>
        <p:spPr>
          <a:xfrm>
            <a:off x="502921" y="3522660"/>
            <a:ext cx="1167522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fr-FR" sz="4800" b="1" dirty="0">
                <a:solidFill>
                  <a:schemeClr val="tx1"/>
                </a:solidFill>
                <a:latin typeface="Source Sans Pro" panose="020B0503030403020204" pitchFamily="34" charset="0"/>
                <a:cs typeface="Arial" panose="020B0604020202020204" pitchFamily="34" charset="0"/>
              </a:rPr>
              <a:t>ÉLABORATION DE LA STRATÉGIE DE COMMUNICATION  </a:t>
            </a:r>
            <a:r>
              <a:rPr lang="fr-FR" sz="4800" dirty="0">
                <a:solidFill>
                  <a:schemeClr val="tx1"/>
                </a:solidFill>
                <a:latin typeface="Source Sans Pro" panose="020B0503030403020204" pitchFamily="34" charset="0"/>
                <a:cs typeface="Arial" panose="020B0604020202020204" pitchFamily="34" charset="0"/>
              </a:rPr>
              <a:t>2024-2026</a:t>
            </a:r>
            <a:r>
              <a:rPr lang="fr-FR" sz="4800" b="1" dirty="0">
                <a:solidFill>
                  <a:schemeClr val="tx1"/>
                </a:solidFill>
                <a:latin typeface="Source Sans Pro" panose="020B0503030403020204" pitchFamily="34" charset="0"/>
                <a:cs typeface="Arial" panose="020B0604020202020204" pitchFamily="34" charset="0"/>
              </a:rPr>
              <a:t> </a:t>
            </a:r>
          </a:p>
        </p:txBody>
      </p:sp>
      <p:sp>
        <p:nvSpPr>
          <p:cNvPr id="9" name="Textfeld 2">
            <a:extLst>
              <a:ext uri="{FF2B5EF4-FFF2-40B4-BE49-F238E27FC236}">
                <a16:creationId xmlns:a16="http://schemas.microsoft.com/office/drawing/2014/main" id="{8DFF25E7-264A-1820-2E05-F2B9E900DCB8}"/>
              </a:ext>
            </a:extLst>
          </p:cNvPr>
          <p:cNvSpPr txBox="1"/>
          <p:nvPr/>
        </p:nvSpPr>
        <p:spPr>
          <a:xfrm>
            <a:off x="634539" y="8395322"/>
            <a:ext cx="1135380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spcBef>
                <a:spcPct val="0"/>
              </a:spcBef>
              <a:defRPr/>
            </a:pPr>
            <a:r>
              <a:rPr lang="fr-FR" sz="2800" b="0" dirty="0">
                <a:solidFill>
                  <a:schemeClr val="tx1"/>
                </a:solidFill>
                <a:latin typeface="Source Sans Pro" panose="020B0503030403020204" pitchFamily="34" charset="0"/>
                <a:ea typeface="Source Sans Pro" panose="020B0503030403020204" pitchFamily="34" charset="0"/>
              </a:rPr>
              <a:t>Abidjan, le 6 mai 2024</a:t>
            </a:r>
          </a:p>
        </p:txBody>
      </p:sp>
    </p:spTree>
    <p:extLst>
      <p:ext uri="{BB962C8B-B14F-4D97-AF65-F5344CB8AC3E}">
        <p14:creationId xmlns:p14="http://schemas.microsoft.com/office/powerpoint/2010/main" val="1221238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4"/>
            <a:ext cx="11106584" cy="757130"/>
          </a:xfrm>
        </p:spPr>
        <p:txBody>
          <a:bodyPr anchor="t">
            <a:normAutofit/>
          </a:bodyPr>
          <a:lstStyle/>
          <a:p>
            <a:pPr marL="536575" indent="-536575">
              <a:lnSpc>
                <a:spcPct val="110000"/>
              </a:lnSpc>
              <a:spcBef>
                <a:spcPts val="0"/>
              </a:spcBef>
              <a:spcAft>
                <a:spcPts val="1800"/>
              </a:spcAft>
              <a:defRPr/>
            </a:pPr>
            <a:r>
              <a:rPr lang="fr-FR" sz="3600" b="1" dirty="0">
                <a:latin typeface="Source Sans Pro" panose="020B0503030403020204" pitchFamily="34" charset="0"/>
                <a:cs typeface="Arial" panose="020B0604020202020204" pitchFamily="34" charset="0"/>
              </a:rPr>
              <a:t>Participative et inclusive</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10</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METHODOLOGIE</a:t>
            </a:r>
          </a:p>
        </p:txBody>
      </p:sp>
      <p:graphicFrame>
        <p:nvGraphicFramePr>
          <p:cNvPr id="9" name="Diagram 8">
            <a:extLst>
              <a:ext uri="{FF2B5EF4-FFF2-40B4-BE49-F238E27FC236}">
                <a16:creationId xmlns:a16="http://schemas.microsoft.com/office/drawing/2014/main" id="{6CA665F5-1E8E-34B2-A66C-6E36D8F40336}"/>
              </a:ext>
            </a:extLst>
          </p:cNvPr>
          <p:cNvGraphicFramePr/>
          <p:nvPr>
            <p:extLst>
              <p:ext uri="{D42A27DB-BD31-4B8C-83A1-F6EECF244321}">
                <p14:modId xmlns:p14="http://schemas.microsoft.com/office/powerpoint/2010/main" val="2458967606"/>
              </p:ext>
            </p:extLst>
          </p:nvPr>
        </p:nvGraphicFramePr>
        <p:xfrm>
          <a:off x="754112" y="3203205"/>
          <a:ext cx="11106585" cy="56706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84015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3"/>
            <a:ext cx="11106584" cy="757130"/>
          </a:xfrm>
        </p:spPr>
        <p:txBody>
          <a:bodyPr anchor="t">
            <a:normAutofit/>
          </a:bodyPr>
          <a:lstStyle/>
          <a:p>
            <a:pPr marL="536575" indent="-536575">
              <a:lnSpc>
                <a:spcPct val="110000"/>
              </a:lnSpc>
              <a:spcBef>
                <a:spcPts val="0"/>
              </a:spcBef>
              <a:spcAft>
                <a:spcPts val="1800"/>
              </a:spcAft>
              <a:defRPr/>
            </a:pPr>
            <a:r>
              <a:rPr lang="fr-FR" sz="3600" dirty="0">
                <a:latin typeface="Source Sans Pro" panose="020B0503030403020204" pitchFamily="34" charset="0"/>
                <a:cs typeface="Arial" panose="020B0604020202020204" pitchFamily="34" charset="0"/>
              </a:rPr>
              <a:t>Entretien</a:t>
            </a:r>
            <a:r>
              <a:rPr lang="fr-FR" sz="3200" dirty="0">
                <a:latin typeface="Source Sans Pro" panose="020B0503030403020204" pitchFamily="34" charset="0"/>
                <a:cs typeface="Arial" panose="020B0604020202020204" pitchFamily="34" charset="0"/>
              </a:rPr>
              <a:t>s</a:t>
            </a:r>
            <a:endParaRPr lang="fr-FR" sz="3600" dirty="0">
              <a:latin typeface="Source Sans Pro" panose="020B0503030403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11</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METHODOLOGIE</a:t>
            </a:r>
          </a:p>
        </p:txBody>
      </p:sp>
      <p:graphicFrame>
        <p:nvGraphicFramePr>
          <p:cNvPr id="5" name="Tableau 5">
            <a:extLst>
              <a:ext uri="{FF2B5EF4-FFF2-40B4-BE49-F238E27FC236}">
                <a16:creationId xmlns:a16="http://schemas.microsoft.com/office/drawing/2014/main" id="{8EDA6FFC-9BF0-7348-CAF5-08BC0EE314AD}"/>
              </a:ext>
            </a:extLst>
          </p:cNvPr>
          <p:cNvGraphicFramePr>
            <a:graphicFrameLocks noGrp="1"/>
          </p:cNvGraphicFramePr>
          <p:nvPr>
            <p:extLst>
              <p:ext uri="{D42A27DB-BD31-4B8C-83A1-F6EECF244321}">
                <p14:modId xmlns:p14="http://schemas.microsoft.com/office/powerpoint/2010/main" val="3611143020"/>
              </p:ext>
            </p:extLst>
          </p:nvPr>
        </p:nvGraphicFramePr>
        <p:xfrm>
          <a:off x="754113" y="3203203"/>
          <a:ext cx="11106584" cy="5974080"/>
        </p:xfrm>
        <a:graphic>
          <a:graphicData uri="http://schemas.openxmlformats.org/drawingml/2006/table">
            <a:tbl>
              <a:tblPr firstRow="1" firstCol="1" bandRow="1">
                <a:tableStyleId>{5C22544A-7EE6-4342-B048-85BDC9FD1C3A}</a:tableStyleId>
              </a:tblPr>
              <a:tblGrid>
                <a:gridCol w="2157692">
                  <a:extLst>
                    <a:ext uri="{9D8B030D-6E8A-4147-A177-3AD203B41FA5}">
                      <a16:colId xmlns:a16="http://schemas.microsoft.com/office/drawing/2014/main" val="753782304"/>
                    </a:ext>
                  </a:extLst>
                </a:gridCol>
                <a:gridCol w="4633508">
                  <a:extLst>
                    <a:ext uri="{9D8B030D-6E8A-4147-A177-3AD203B41FA5}">
                      <a16:colId xmlns:a16="http://schemas.microsoft.com/office/drawing/2014/main" val="2868804646"/>
                    </a:ext>
                  </a:extLst>
                </a:gridCol>
                <a:gridCol w="4315384">
                  <a:extLst>
                    <a:ext uri="{9D8B030D-6E8A-4147-A177-3AD203B41FA5}">
                      <a16:colId xmlns:a16="http://schemas.microsoft.com/office/drawing/2014/main" val="1944070650"/>
                    </a:ext>
                  </a:extLst>
                </a:gridCol>
              </a:tblGrid>
              <a:tr h="330069">
                <a:tc>
                  <a:txBody>
                    <a:bodyPr/>
                    <a:lstStyle/>
                    <a:p>
                      <a:pPr algn="l">
                        <a:lnSpc>
                          <a:spcPct val="100000"/>
                        </a:lnSpc>
                        <a:spcAft>
                          <a:spcPts val="0"/>
                        </a:spcAft>
                      </a:pPr>
                      <a:endParaRPr lang="fr-FR" sz="2800" dirty="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lnSpc>
                          <a:spcPct val="100000"/>
                        </a:lnSpc>
                        <a:spcAft>
                          <a:spcPts val="0"/>
                        </a:spcAft>
                      </a:pPr>
                      <a:r>
                        <a:rPr lang="fr-FR" sz="2800">
                          <a:effectLst/>
                          <a:latin typeface="Source Sans Pro" panose="020B0503030403020204" pitchFamily="34" charset="0"/>
                          <a:cs typeface="Arial" panose="020B0604020202020204" pitchFamily="34" charset="0"/>
                        </a:rPr>
                        <a:t>Acteurs internes </a:t>
                      </a:r>
                      <a:endParaRPr lang="fr-FR" sz="280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lnSpc>
                          <a:spcPct val="100000"/>
                        </a:lnSpc>
                        <a:spcAft>
                          <a:spcPts val="0"/>
                        </a:spcAft>
                      </a:pPr>
                      <a:r>
                        <a:rPr lang="fr-FR" sz="2800">
                          <a:effectLst/>
                          <a:latin typeface="Source Sans Pro" panose="020B0503030403020204" pitchFamily="34" charset="0"/>
                          <a:cs typeface="Arial" panose="020B0604020202020204" pitchFamily="34" charset="0"/>
                        </a:rPr>
                        <a:t>Acteurs externes </a:t>
                      </a:r>
                      <a:endParaRPr lang="fr-FR" sz="280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350734676"/>
                  </a:ext>
                </a:extLst>
              </a:tr>
              <a:tr h="1795834">
                <a:tc>
                  <a:txBody>
                    <a:bodyPr/>
                    <a:lstStyle/>
                    <a:p>
                      <a:pPr algn="l">
                        <a:lnSpc>
                          <a:spcPct val="100000"/>
                        </a:lnSpc>
                        <a:spcAft>
                          <a:spcPts val="0"/>
                        </a:spcAft>
                      </a:pPr>
                      <a:r>
                        <a:rPr lang="fr-FR" sz="2800" dirty="0">
                          <a:effectLst/>
                          <a:latin typeface="Source Sans Pro" panose="020B0503030403020204" pitchFamily="34" charset="0"/>
                          <a:cs typeface="Arial" panose="020B0604020202020204" pitchFamily="34" charset="0"/>
                        </a:rPr>
                        <a:t>Niveau Régional</a:t>
                      </a:r>
                      <a:endParaRPr lang="fr-FR" sz="2800" dirty="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indent="0" algn="l" fontAlgn="base">
                        <a:lnSpc>
                          <a:spcPct val="100000"/>
                        </a:lnSpc>
                        <a:spcAft>
                          <a:spcPts val="0"/>
                        </a:spcAft>
                        <a:buFont typeface="Arial" panose="020B0604020202020204" pitchFamily="34" charset="0"/>
                        <a:buNone/>
                      </a:pPr>
                      <a:r>
                        <a:rPr lang="fr-FR" sz="2800" b="1" dirty="0">
                          <a:effectLst/>
                          <a:latin typeface="Source Sans Pro" panose="020B0503030403020204" pitchFamily="34" charset="0"/>
                          <a:cs typeface="Arial" panose="020B0604020202020204" pitchFamily="34" charset="0"/>
                        </a:rPr>
                        <a:t>CEDEAO</a:t>
                      </a:r>
                    </a:p>
                    <a:p>
                      <a:pPr marL="342900" indent="-342900" algn="l" fontAlgn="base">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Coordonnateur/Chargé de projet</a:t>
                      </a:r>
                    </a:p>
                    <a:p>
                      <a:pPr marL="342900" indent="-342900" algn="l" fontAlgn="base">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Spécialiste en Communication</a:t>
                      </a:r>
                    </a:p>
                    <a:p>
                      <a:pPr marL="0" indent="0" algn="l" fontAlgn="base">
                        <a:lnSpc>
                          <a:spcPct val="100000"/>
                        </a:lnSpc>
                        <a:spcAft>
                          <a:spcPts val="0"/>
                        </a:spcAft>
                        <a:buFont typeface="Arial" panose="020B0604020202020204" pitchFamily="34" charset="0"/>
                        <a:buNone/>
                      </a:pPr>
                      <a:endParaRPr lang="fr-FR" sz="2800" dirty="0">
                        <a:effectLst/>
                        <a:latin typeface="Source Sans Pro" panose="020B0503030403020204" pitchFamily="34" charset="0"/>
                        <a:cs typeface="Arial" panose="020B0604020202020204" pitchFamily="34" charset="0"/>
                      </a:endParaRPr>
                    </a:p>
                    <a:p>
                      <a:pPr marL="0" indent="0" algn="l" fontAlgn="base">
                        <a:lnSpc>
                          <a:spcPct val="100000"/>
                        </a:lnSpc>
                        <a:spcAft>
                          <a:spcPts val="0"/>
                        </a:spcAft>
                        <a:buFont typeface="Arial" panose="020B0604020202020204" pitchFamily="34" charset="0"/>
                        <a:buNone/>
                      </a:pPr>
                      <a:r>
                        <a:rPr lang="fr-FR" sz="2800" b="1" dirty="0">
                          <a:effectLst/>
                          <a:latin typeface="Source Sans Pro" panose="020B0503030403020204" pitchFamily="34" charset="0"/>
                          <a:cs typeface="Arial" panose="020B0604020202020204" pitchFamily="34" charset="0"/>
                        </a:rPr>
                        <a:t>Banque mondiale</a:t>
                      </a:r>
                    </a:p>
                    <a:p>
                      <a:pPr marL="342900" indent="-342900" algn="l" fontAlgn="base">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TTL</a:t>
                      </a:r>
                    </a:p>
                  </a:txBody>
                  <a:tcPr marL="68580" marR="68580" marT="0" marB="0"/>
                </a:tc>
                <a:tc>
                  <a:txBody>
                    <a:bodyPr/>
                    <a:lstStyle/>
                    <a:p>
                      <a:pPr marL="342900" indent="-342900" algn="l">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UEMOA</a:t>
                      </a:r>
                    </a:p>
                    <a:p>
                      <a:pPr marL="342900" indent="-342900" algn="l">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UA</a:t>
                      </a:r>
                    </a:p>
                    <a:p>
                      <a:pPr marL="342900" indent="-342900" algn="l">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Cabinet chargé </a:t>
                      </a:r>
                      <a:r>
                        <a:rPr lang="fr-FR" sz="2800" baseline="0" dirty="0">
                          <a:effectLst/>
                          <a:latin typeface="Source Sans Pro" panose="020B0503030403020204" pitchFamily="34" charset="0"/>
                          <a:cs typeface="Arial" panose="020B0604020202020204" pitchFamily="34" charset="0"/>
                        </a:rPr>
                        <a:t>de l’évaluation des parties prenantes</a:t>
                      </a:r>
                    </a:p>
                    <a:p>
                      <a:pPr marL="342900" indent="-342900" algn="l">
                        <a:lnSpc>
                          <a:spcPct val="100000"/>
                        </a:lnSpc>
                        <a:spcAft>
                          <a:spcPts val="0"/>
                        </a:spcAft>
                        <a:buFont typeface="Arial" panose="020B0604020202020204" pitchFamily="34" charset="0"/>
                        <a:buChar char="•"/>
                      </a:pPr>
                      <a:r>
                        <a:rPr lang="fr-FR" sz="2800" dirty="0">
                          <a:effectLst/>
                          <a:latin typeface="Source Sans Pro" panose="020B0503030403020204" pitchFamily="34" charset="0"/>
                          <a:cs typeface="Arial" panose="020B0604020202020204" pitchFamily="34" charset="0"/>
                        </a:rPr>
                        <a:t>Médias </a:t>
                      </a:r>
                      <a:endParaRPr lang="fr-FR" sz="2800" dirty="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noFill/>
                  </a:tcPr>
                </a:tc>
                <a:extLst>
                  <a:ext uri="{0D108BD9-81ED-4DB2-BD59-A6C34878D82A}">
                    <a16:rowId xmlns:a16="http://schemas.microsoft.com/office/drawing/2014/main" val="2303465134"/>
                  </a:ext>
                </a:extLst>
              </a:tr>
              <a:tr h="1980415">
                <a:tc>
                  <a:txBody>
                    <a:bodyPr/>
                    <a:lstStyle/>
                    <a:p>
                      <a:pPr algn="l">
                        <a:lnSpc>
                          <a:spcPct val="100000"/>
                        </a:lnSpc>
                        <a:spcAft>
                          <a:spcPts val="0"/>
                        </a:spcAft>
                      </a:pPr>
                      <a:r>
                        <a:rPr lang="fr-FR" sz="2800" dirty="0">
                          <a:effectLst/>
                          <a:latin typeface="Source Sans Pro" panose="020B0503030403020204" pitchFamily="34" charset="0"/>
                          <a:cs typeface="Arial" panose="020B0604020202020204" pitchFamily="34" charset="0"/>
                        </a:rPr>
                        <a:t>Niveau National </a:t>
                      </a:r>
                      <a:endParaRPr lang="fr-FR" sz="2800" dirty="0">
                        <a:effectLst/>
                        <a:latin typeface="Source Sans Pro" panose="020B0503030403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Coordonnateur national</a:t>
                      </a:r>
                    </a:p>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Chargé de Communication </a:t>
                      </a:r>
                    </a:p>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Ministère de la sécurité </a:t>
                      </a:r>
                    </a:p>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Ministère de l’économie numérique </a:t>
                      </a:r>
                    </a:p>
                  </a:txBody>
                  <a:tcPr marL="68580" marR="68580" marT="0" marB="0"/>
                </a:tc>
                <a:tc>
                  <a:txBody>
                    <a:bodyPr/>
                    <a:lstStyle/>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Populations résidentes et non résidentes </a:t>
                      </a:r>
                    </a:p>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Personnes ressources </a:t>
                      </a:r>
                    </a:p>
                    <a:p>
                      <a:pPr marL="342900" indent="-342900" algn="l" defTabSz="914400" rtl="0" eaLnBrk="1" fontAlgn="base" latinLnBrk="0" hangingPunct="1">
                        <a:lnSpc>
                          <a:spcPct val="100000"/>
                        </a:lnSpc>
                        <a:spcAft>
                          <a:spcPts val="0"/>
                        </a:spcAft>
                        <a:buFont typeface="Arial" panose="020B0604020202020204" pitchFamily="34" charset="0"/>
                        <a:buChar char="•"/>
                      </a:pPr>
                      <a:r>
                        <a:rPr lang="fr-FR" sz="2800" kern="1200" dirty="0">
                          <a:solidFill>
                            <a:schemeClr val="dk1"/>
                          </a:solidFill>
                          <a:effectLst/>
                          <a:latin typeface="Source Sans Pro" panose="020B0503030403020204" pitchFamily="34" charset="0"/>
                          <a:ea typeface="+mn-ea"/>
                          <a:cs typeface="Arial" panose="020B0604020202020204" pitchFamily="34" charset="0"/>
                        </a:rPr>
                        <a:t>Médias </a:t>
                      </a:r>
                    </a:p>
                  </a:txBody>
                  <a:tcPr marL="68580" marR="68580" marT="0" marB="0"/>
                </a:tc>
                <a:extLst>
                  <a:ext uri="{0D108BD9-81ED-4DB2-BD59-A6C34878D82A}">
                    <a16:rowId xmlns:a16="http://schemas.microsoft.com/office/drawing/2014/main" val="2960350059"/>
                  </a:ext>
                </a:extLst>
              </a:tr>
            </a:tbl>
          </a:graphicData>
        </a:graphic>
      </p:graphicFrame>
    </p:spTree>
    <p:extLst>
      <p:ext uri="{BB962C8B-B14F-4D97-AF65-F5344CB8AC3E}">
        <p14:creationId xmlns:p14="http://schemas.microsoft.com/office/powerpoint/2010/main" val="35027478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3"/>
            <a:ext cx="11106584" cy="6594070"/>
          </a:xfrm>
        </p:spPr>
        <p:txBody>
          <a:bodyPr anchor="t">
            <a:normAutofit/>
          </a:bodyPr>
          <a:lstStyle/>
          <a:p>
            <a:pPr marL="742950" indent="-742950">
              <a:lnSpc>
                <a:spcPct val="110000"/>
              </a:lnSpc>
              <a:spcBef>
                <a:spcPts val="0"/>
              </a:spcBef>
              <a:spcAft>
                <a:spcPts val="1800"/>
              </a:spcAft>
              <a:buFont typeface="+mj-lt"/>
              <a:buAutoNum type="arabicPeriod"/>
              <a:defRPr/>
            </a:pPr>
            <a:r>
              <a:rPr lang="fr-FR" sz="3600" b="1" dirty="0">
                <a:latin typeface="Source Sans Pro" panose="020B0503030403020204" pitchFamily="34" charset="0"/>
                <a:cs typeface="Arial" panose="020B0604020202020204" pitchFamily="34" charset="0"/>
              </a:rPr>
              <a:t>Revue documentaire réalisée</a:t>
            </a:r>
          </a:p>
          <a:p>
            <a:pPr marL="742950" indent="-742950">
              <a:lnSpc>
                <a:spcPct val="110000"/>
              </a:lnSpc>
              <a:spcBef>
                <a:spcPts val="0"/>
              </a:spcBef>
              <a:spcAft>
                <a:spcPts val="1800"/>
              </a:spcAft>
              <a:buFont typeface="+mj-lt"/>
              <a:buAutoNum type="arabicPeriod"/>
              <a:defRPr/>
            </a:pPr>
            <a:r>
              <a:rPr lang="fr-FR" sz="3600" b="1" dirty="0">
                <a:latin typeface="Source Sans Pro" panose="020B0503030403020204" pitchFamily="34" charset="0"/>
                <a:cs typeface="Arial" panose="020B0604020202020204" pitchFamily="34" charset="0"/>
              </a:rPr>
              <a:t>Entretiens réalisés :</a:t>
            </a:r>
          </a:p>
          <a:p>
            <a:pPr marL="1350963" lvl="2" indent="-436563">
              <a:lnSpc>
                <a:spcPct val="100000"/>
              </a:lnSpc>
              <a:spcBef>
                <a:spcPts val="0"/>
              </a:spcBef>
              <a:spcAft>
                <a:spcPts val="1800"/>
              </a:spcAft>
              <a:buFont typeface="Wingdings" panose="05000000000000000000" pitchFamily="2" charset="2"/>
              <a:buChar char="ü"/>
              <a:defRPr/>
            </a:pPr>
            <a:r>
              <a:rPr lang="fr-FR" sz="3600" dirty="0">
                <a:latin typeface="Source Sans Pro" panose="020B0503030403020204" pitchFamily="34" charset="0"/>
                <a:cs typeface="Arial" panose="020B0604020202020204" pitchFamily="34" charset="0"/>
              </a:rPr>
              <a:t>Burkina Faso, Côte d’Ivoire, Niger, Togo</a:t>
            </a:r>
          </a:p>
          <a:p>
            <a:pPr marL="1350963" lvl="2" indent="-436563">
              <a:lnSpc>
                <a:spcPct val="100000"/>
              </a:lnSpc>
              <a:spcBef>
                <a:spcPts val="0"/>
              </a:spcBef>
              <a:spcAft>
                <a:spcPts val="1800"/>
              </a:spcAft>
              <a:buFont typeface="Wingdings" panose="05000000000000000000" pitchFamily="2" charset="2"/>
              <a:buChar char="ü"/>
              <a:defRPr/>
            </a:pPr>
            <a:r>
              <a:rPr lang="fr-FR" sz="3600" dirty="0">
                <a:latin typeface="Source Sans Pro" panose="020B0503030403020204" pitchFamily="34" charset="0"/>
                <a:cs typeface="Arial" panose="020B0604020202020204" pitchFamily="34" charset="0"/>
              </a:rPr>
              <a:t>Commission de la CEDEAO</a:t>
            </a:r>
          </a:p>
          <a:p>
            <a:pPr marL="742950" indent="-742950">
              <a:lnSpc>
                <a:spcPct val="110000"/>
              </a:lnSpc>
              <a:spcBef>
                <a:spcPts val="0"/>
              </a:spcBef>
              <a:spcAft>
                <a:spcPts val="1800"/>
              </a:spcAft>
              <a:buFont typeface="+mj-lt"/>
              <a:buAutoNum type="arabicPeriod"/>
              <a:defRPr/>
            </a:pPr>
            <a:r>
              <a:rPr lang="fr-FR" sz="3600" b="1" dirty="0">
                <a:latin typeface="Source Sans Pro" panose="020B0503030403020204" pitchFamily="34" charset="0"/>
                <a:cs typeface="Arial" panose="020B0604020202020204" pitchFamily="34" charset="0"/>
              </a:rPr>
              <a:t>Entretiens programmés :</a:t>
            </a:r>
          </a:p>
          <a:p>
            <a:pPr marL="1350963" lvl="2" indent="-436563">
              <a:lnSpc>
                <a:spcPct val="110000"/>
              </a:lnSpc>
              <a:spcBef>
                <a:spcPts val="0"/>
              </a:spcBef>
              <a:spcAft>
                <a:spcPts val="1800"/>
              </a:spcAft>
              <a:buFont typeface="Wingdings" panose="05000000000000000000" pitchFamily="2" charset="2"/>
              <a:buChar char="ü"/>
              <a:defRPr/>
            </a:pPr>
            <a:r>
              <a:rPr lang="fr-FR" sz="3600" dirty="0">
                <a:latin typeface="Source Sans Pro" panose="020B0503030403020204" pitchFamily="34" charset="0"/>
                <a:cs typeface="Arial" panose="020B0604020202020204" pitchFamily="34" charset="0"/>
              </a:rPr>
              <a:t>Bénin</a:t>
            </a:r>
            <a:r>
              <a:rPr lang="fr-FR" sz="3600">
                <a:latin typeface="Source Sans Pro" panose="020B0503030403020204" pitchFamily="34" charset="0"/>
                <a:cs typeface="Arial" panose="020B0604020202020204" pitchFamily="34" charset="0"/>
              </a:rPr>
              <a:t>, Guinée</a:t>
            </a:r>
            <a:endParaRPr lang="fr-FR" sz="3600" dirty="0">
              <a:latin typeface="Source Sans Pro" panose="020B0503030403020204" pitchFamily="34" charset="0"/>
              <a:cs typeface="Arial" panose="020B0604020202020204" pitchFamily="34" charset="0"/>
            </a:endParaRPr>
          </a:p>
          <a:p>
            <a:pPr marL="1350963" lvl="2" indent="-436563">
              <a:lnSpc>
                <a:spcPct val="110000"/>
              </a:lnSpc>
              <a:spcBef>
                <a:spcPts val="0"/>
              </a:spcBef>
              <a:spcAft>
                <a:spcPts val="1800"/>
              </a:spcAft>
              <a:buFont typeface="Wingdings" panose="05000000000000000000" pitchFamily="2" charset="2"/>
              <a:buChar char="ü"/>
              <a:defRPr/>
            </a:pPr>
            <a:r>
              <a:rPr lang="fr-FR" sz="3600" dirty="0">
                <a:latin typeface="Source Sans Pro" panose="020B0503030403020204" pitchFamily="34" charset="0"/>
                <a:cs typeface="Arial" panose="020B0604020202020204" pitchFamily="34" charset="0"/>
              </a:rPr>
              <a:t>TTL Banque mondiale</a:t>
            </a:r>
            <a:endParaRPr lang="fr-FR" sz="3600" b="1" dirty="0">
              <a:latin typeface="Source Sans Pro" panose="020B0503030403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12</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ETAT D’AVANCEMENT</a:t>
            </a:r>
          </a:p>
        </p:txBody>
      </p:sp>
    </p:spTree>
    <p:extLst>
      <p:ext uri="{BB962C8B-B14F-4D97-AF65-F5344CB8AC3E}">
        <p14:creationId xmlns:p14="http://schemas.microsoft.com/office/powerpoint/2010/main" val="2945613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13</a:t>
            </a:fld>
            <a:endParaRPr kumimoji="0" lang="fr-FR" altLang="en-US" sz="2400" b="1" i="0" u="none" strike="noStrike" kern="0" cap="none" spc="0" normalizeH="0" baseline="0" dirty="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PROCHAINES ETAPES</a:t>
            </a:r>
          </a:p>
        </p:txBody>
      </p:sp>
      <p:graphicFrame>
        <p:nvGraphicFramePr>
          <p:cNvPr id="5" name="Diagram 4">
            <a:extLst>
              <a:ext uri="{FF2B5EF4-FFF2-40B4-BE49-F238E27FC236}">
                <a16:creationId xmlns:a16="http://schemas.microsoft.com/office/drawing/2014/main" id="{D9FB6221-8370-6EC3-6F8A-6396CF5708D2}"/>
              </a:ext>
            </a:extLst>
          </p:cNvPr>
          <p:cNvGraphicFramePr/>
          <p:nvPr>
            <p:extLst>
              <p:ext uri="{D42A27DB-BD31-4B8C-83A1-F6EECF244321}">
                <p14:modId xmlns:p14="http://schemas.microsoft.com/office/powerpoint/2010/main" val="4130008125"/>
              </p:ext>
            </p:extLst>
          </p:nvPr>
        </p:nvGraphicFramePr>
        <p:xfrm>
          <a:off x="997526" y="2348601"/>
          <a:ext cx="10661074" cy="6691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78039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576945"/>
            <a:ext cx="11106584" cy="6463198"/>
          </a:xfrm>
        </p:spPr>
        <p:txBody>
          <a:bodyPr anchor="t">
            <a:normAutofit/>
          </a:bodyPr>
          <a:lstStyle/>
          <a:p>
            <a:pPr marL="742950" indent="-742950">
              <a:lnSpc>
                <a:spcPct val="110000"/>
              </a:lnSpc>
              <a:spcBef>
                <a:spcPts val="0"/>
              </a:spcBef>
              <a:spcAft>
                <a:spcPts val="1800"/>
              </a:spcAft>
              <a:buFont typeface="+mj-lt"/>
              <a:buAutoNum type="arabicPeriod"/>
              <a:defRPr/>
            </a:pPr>
            <a:r>
              <a:rPr lang="fr-FR" sz="4000" dirty="0">
                <a:latin typeface="Source Sans Pro" panose="020B0503030403020204" pitchFamily="34" charset="0"/>
                <a:cs typeface="Arial" panose="020B0604020202020204" pitchFamily="34" charset="0"/>
              </a:rPr>
              <a:t>La stratégie de communication de la CEDEAO représente un atout potentiel qui viendrait renforcer les efforts déjà déployés par les pays en matière de visibilité, de plaidoyer et de sensibilisation pour le projet WURI. </a:t>
            </a:r>
          </a:p>
          <a:p>
            <a:pPr marL="742950" indent="-742950">
              <a:lnSpc>
                <a:spcPct val="110000"/>
              </a:lnSpc>
              <a:spcBef>
                <a:spcPts val="0"/>
              </a:spcBef>
              <a:spcAft>
                <a:spcPts val="1800"/>
              </a:spcAft>
              <a:buFont typeface="+mj-lt"/>
              <a:buAutoNum type="arabicPeriod"/>
              <a:defRPr/>
            </a:pPr>
            <a:r>
              <a:rPr lang="fr-FR" sz="4000" dirty="0">
                <a:latin typeface="Source Sans Pro" panose="020B0503030403020204" pitchFamily="34" charset="0"/>
                <a:cs typeface="Arial" panose="020B0604020202020204" pitchFamily="34" charset="0"/>
              </a:rPr>
              <a:t>L'engagement de tous est crucial, non seulement pour finaliser la stratégie, mais aussi pour garantir sa mise en œuvre efficace.</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14</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ONCLUSION</a:t>
            </a:r>
          </a:p>
        </p:txBody>
      </p:sp>
    </p:spTree>
    <p:extLst>
      <p:ext uri="{BB962C8B-B14F-4D97-AF65-F5344CB8AC3E}">
        <p14:creationId xmlns:p14="http://schemas.microsoft.com/office/powerpoint/2010/main" val="2325632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8111" y="4657125"/>
            <a:ext cx="5342512" cy="1055354"/>
          </a:xfrm>
          <a:prstGeom prst="rect">
            <a:avLst/>
          </a:prstGeom>
          <a:noFill/>
        </p:spPr>
        <p:txBody>
          <a:bodyPr wrap="square" rtlCol="0">
            <a:spAutoFit/>
          </a:bodyPr>
          <a:lstStyle/>
          <a:p>
            <a:pPr algn="l"/>
            <a:r>
              <a:rPr lang="en-US" sz="6258" dirty="0">
                <a:solidFill>
                  <a:schemeClr val="bg1"/>
                </a:solidFill>
                <a:latin typeface="Source Sans Pro" panose="020B0503030403020204" pitchFamily="34" charset="0"/>
                <a:ea typeface="Source Sans Pro" panose="020B0503030403020204" pitchFamily="34" charset="0"/>
              </a:rPr>
              <a:t>Merci</a:t>
            </a:r>
            <a:endParaRPr lang="en-GB" sz="6258" dirty="0">
              <a:solidFill>
                <a:schemeClr val="bg1"/>
              </a:solidFill>
              <a:latin typeface="Source Sans Pro" panose="020B0503030403020204" pitchFamily="34" charset="0"/>
              <a:ea typeface="Source Sans Pro" panose="020B0503030403020204" pitchFamily="34" charset="0"/>
            </a:endParaRPr>
          </a:p>
        </p:txBody>
      </p:sp>
      <p:sp>
        <p:nvSpPr>
          <p:cNvPr id="3" name="TextBox 2"/>
          <p:cNvSpPr txBox="1"/>
          <p:nvPr/>
        </p:nvSpPr>
        <p:spPr>
          <a:xfrm>
            <a:off x="721215" y="6272804"/>
            <a:ext cx="5342512" cy="1055354"/>
          </a:xfrm>
          <a:prstGeom prst="rect">
            <a:avLst/>
          </a:prstGeom>
          <a:noFill/>
        </p:spPr>
        <p:txBody>
          <a:bodyPr wrap="square" rtlCol="0">
            <a:spAutoFit/>
          </a:bodyPr>
          <a:lstStyle/>
          <a:p>
            <a:pPr algn="l"/>
            <a:r>
              <a:rPr lang="en-US" sz="6258" dirty="0">
                <a:solidFill>
                  <a:schemeClr val="bg1"/>
                </a:solidFill>
                <a:latin typeface="Source Sans Pro" panose="020B0503030403020204" pitchFamily="34" charset="0"/>
                <a:ea typeface="Source Sans Pro" panose="020B0503030403020204" pitchFamily="34" charset="0"/>
              </a:rPr>
              <a:t>Obrigada</a:t>
            </a:r>
            <a:endParaRPr lang="en-GB" sz="6258" dirty="0">
              <a:solidFill>
                <a:schemeClr val="bg1"/>
              </a:solidFill>
              <a:latin typeface="Source Sans Pro" panose="020B0503030403020204" pitchFamily="34" charset="0"/>
              <a:ea typeface="Source Sans Pro" panose="020B0503030403020204" pitchFamily="34" charset="0"/>
            </a:endParaRPr>
          </a:p>
        </p:txBody>
      </p:sp>
      <p:cxnSp>
        <p:nvCxnSpPr>
          <p:cNvPr id="5" name="Straight Connector 4"/>
          <p:cNvCxnSpPr/>
          <p:nvPr/>
        </p:nvCxnSpPr>
        <p:spPr>
          <a:xfrm flipV="1">
            <a:off x="738110" y="6033760"/>
            <a:ext cx="7890751" cy="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738110" y="7606163"/>
            <a:ext cx="7890751" cy="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0015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2" y="2446073"/>
            <a:ext cx="11080079" cy="6594070"/>
          </a:xfrm>
        </p:spPr>
        <p:txBody>
          <a:bodyPr anchor="t">
            <a:normAutofit/>
          </a:bodyPr>
          <a:lstStyle/>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CONTEXTE &amp; JUSTIFICATION</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OBJECTIFS DE LA MISSION</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CIBLES DE LA MISSION</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APPROCHE MÉTHODOLOGIQUE</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ETAT D’AVANCEMENT</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PROCHAINES ETAPES</a:t>
            </a:r>
          </a:p>
          <a:p>
            <a:pPr marL="536575" indent="-536575">
              <a:lnSpc>
                <a:spcPct val="110000"/>
              </a:lnSpc>
              <a:spcBef>
                <a:spcPts val="0"/>
              </a:spcBef>
              <a:spcAft>
                <a:spcPts val="1800"/>
              </a:spcAft>
              <a:defRPr/>
            </a:pPr>
            <a:r>
              <a:rPr lang="fr-FR" sz="3600" dirty="0">
                <a:latin typeface="Source Sans Pro" panose="020B0503030403020204" pitchFamily="34" charset="0"/>
                <a:ea typeface="Source Sans Pro" panose="020B0503030403020204" pitchFamily="34" charset="0"/>
                <a:cs typeface="Arial" panose="020B0604020202020204" pitchFamily="34" charset="0"/>
              </a:rPr>
              <a:t>CONCLUSION</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2</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PLAN</a:t>
            </a:r>
          </a:p>
        </p:txBody>
      </p:sp>
    </p:spTree>
    <p:extLst>
      <p:ext uri="{BB962C8B-B14F-4D97-AF65-F5344CB8AC3E}">
        <p14:creationId xmlns:p14="http://schemas.microsoft.com/office/powerpoint/2010/main" val="2975430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3"/>
            <a:ext cx="11106584" cy="6594070"/>
          </a:xfrm>
        </p:spPr>
        <p:txBody>
          <a:bodyPr anchor="t">
            <a:normAutofit/>
          </a:bodyPr>
          <a:lstStyle/>
          <a:p>
            <a:pPr marL="536575" indent="-536575">
              <a:lnSpc>
                <a:spcPct val="110000"/>
              </a:lnSpc>
              <a:spcBef>
                <a:spcPts val="0"/>
              </a:spcBef>
              <a:spcAft>
                <a:spcPts val="1800"/>
              </a:spcAft>
              <a:defRPr/>
            </a:pPr>
            <a:r>
              <a:rPr lang="fr-FR" sz="3600" b="1" dirty="0">
                <a:latin typeface="Source Sans Pro" panose="020B0503030403020204" pitchFamily="34" charset="0"/>
                <a:cs typeface="Arial" panose="020B0604020202020204" pitchFamily="34" charset="0"/>
              </a:rPr>
              <a:t>WURI</a:t>
            </a:r>
            <a:r>
              <a:rPr lang="fr-FR" sz="3600" dirty="0">
                <a:latin typeface="Source Sans Pro" panose="020B0503030403020204" pitchFamily="34" charset="0"/>
                <a:cs typeface="Arial" panose="020B0604020202020204" pitchFamily="34" charset="0"/>
              </a:rPr>
              <a:t> : Accroître le nombre de personnes avec une identité reconnue par le gouvernement. </a:t>
            </a:r>
          </a:p>
          <a:p>
            <a:pPr marL="536575" indent="-536575">
              <a:lnSpc>
                <a:spcPct val="110000"/>
              </a:lnSpc>
              <a:spcBef>
                <a:spcPts val="0"/>
              </a:spcBef>
              <a:spcAft>
                <a:spcPts val="1800"/>
              </a:spcAft>
              <a:defRPr/>
            </a:pPr>
            <a:r>
              <a:rPr lang="fr-FR" sz="3600" b="1" dirty="0">
                <a:latin typeface="Source Sans Pro" panose="020B0503030403020204" pitchFamily="34" charset="0"/>
                <a:cs typeface="Arial" panose="020B0604020202020204" pitchFamily="34" charset="0"/>
              </a:rPr>
              <a:t>Pays participants </a:t>
            </a:r>
            <a:r>
              <a:rPr lang="fr-FR" sz="3600" dirty="0">
                <a:latin typeface="Source Sans Pro" panose="020B0503030403020204" pitchFamily="34" charset="0"/>
                <a:cs typeface="Arial" panose="020B0604020202020204" pitchFamily="34" charset="0"/>
              </a:rPr>
              <a:t>: Bénin, Burkina Faso, Côte d'Ivoire, Guinée, Niger, Togo </a:t>
            </a:r>
          </a:p>
          <a:p>
            <a:pPr marL="536575" indent="-536575">
              <a:lnSpc>
                <a:spcPct val="110000"/>
              </a:lnSpc>
              <a:spcBef>
                <a:spcPts val="0"/>
              </a:spcBef>
              <a:spcAft>
                <a:spcPts val="1800"/>
              </a:spcAft>
              <a:defRPr/>
            </a:pPr>
            <a:r>
              <a:rPr lang="fr-FR" sz="3600" b="1" dirty="0">
                <a:latin typeface="Source Sans Pro" panose="020B0503030403020204" pitchFamily="34" charset="0"/>
                <a:cs typeface="Arial" panose="020B0604020202020204" pitchFamily="34" charset="0"/>
              </a:rPr>
              <a:t>Rôle de la Commission de la CEDEAO </a:t>
            </a:r>
            <a:r>
              <a:rPr lang="fr-FR" sz="3600" dirty="0">
                <a:latin typeface="Source Sans Pro" panose="020B0503030403020204" pitchFamily="34" charset="0"/>
                <a:cs typeface="Arial" panose="020B0604020202020204" pitchFamily="34" charset="0"/>
              </a:rPr>
              <a:t>: Assurer l'interopérabilité transfrontalière des systèmes </a:t>
            </a:r>
            <a:r>
              <a:rPr lang="fr-FR" sz="3600" i="1" dirty="0" err="1">
                <a:latin typeface="Source Sans Pro" panose="020B0503030403020204" pitchFamily="34" charset="0"/>
                <a:cs typeface="Arial" panose="020B0604020202020204" pitchFamily="34" charset="0"/>
              </a:rPr>
              <a:t>f</a:t>
            </a:r>
            <a:r>
              <a:rPr lang="fr-FR" sz="3600" dirty="0" err="1">
                <a:latin typeface="Source Sans Pro" panose="020B0503030403020204" pitchFamily="34" charset="0"/>
                <a:cs typeface="Arial" panose="020B0604020202020204" pitchFamily="34" charset="0"/>
              </a:rPr>
              <a:t>ID</a:t>
            </a:r>
            <a:r>
              <a:rPr lang="fr-FR" sz="3600" dirty="0">
                <a:latin typeface="Source Sans Pro" panose="020B0503030403020204" pitchFamily="34" charset="0"/>
                <a:cs typeface="Arial" panose="020B0604020202020204" pitchFamily="34" charset="0"/>
              </a:rPr>
              <a:t> des États membres participants et la reconnaissance mutuelle des justificatifs d'identité afin de faciliter l'accès aux services.</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3</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ONTEXTE</a:t>
            </a:r>
          </a:p>
        </p:txBody>
      </p:sp>
    </p:spTree>
    <p:extLst>
      <p:ext uri="{BB962C8B-B14F-4D97-AF65-F5344CB8AC3E}">
        <p14:creationId xmlns:p14="http://schemas.microsoft.com/office/powerpoint/2010/main" val="4276308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3"/>
            <a:ext cx="11106584" cy="6594070"/>
          </a:xfrm>
        </p:spPr>
        <p:txBody>
          <a:bodyPr anchor="t">
            <a:normAutofit fontScale="92500" lnSpcReduction="20000"/>
          </a:bodyPr>
          <a:lstStyle/>
          <a:p>
            <a:pPr marL="536575" indent="-536575">
              <a:lnSpc>
                <a:spcPct val="110000"/>
              </a:lnSpc>
              <a:spcBef>
                <a:spcPts val="0"/>
              </a:spcBef>
              <a:spcAft>
                <a:spcPts val="1800"/>
              </a:spcAft>
              <a:defRPr/>
            </a:pPr>
            <a:r>
              <a:rPr lang="fr-FR" sz="3000" b="1" dirty="0">
                <a:latin typeface="Source Sans Pro" panose="020B0503030403020204" pitchFamily="34" charset="0"/>
                <a:cs typeface="Arial" panose="020B0604020202020204" pitchFamily="34" charset="0"/>
              </a:rPr>
              <a:t>WURI</a:t>
            </a:r>
            <a:r>
              <a:rPr lang="fr-FR" sz="3000" dirty="0">
                <a:latin typeface="Source Sans Pro" panose="020B0503030403020204" pitchFamily="34" charset="0"/>
                <a:cs typeface="Arial" panose="020B0604020202020204" pitchFamily="34" charset="0"/>
              </a:rPr>
              <a:t> : Accroître le nombre de personnes avec une identité reconnue par le gouvernement. </a:t>
            </a:r>
          </a:p>
          <a:p>
            <a:pPr marL="893763" lvl="1" indent="-436563">
              <a:lnSpc>
                <a:spcPct val="110000"/>
              </a:lnSpc>
              <a:spcBef>
                <a:spcPts val="0"/>
              </a:spcBef>
              <a:spcAft>
                <a:spcPts val="1800"/>
              </a:spcAft>
              <a:buFont typeface="Wingdings" panose="05000000000000000000" pitchFamily="2" charset="2"/>
              <a:buChar char="ü"/>
              <a:defRPr/>
            </a:pPr>
            <a:r>
              <a:rPr lang="fr-FR" sz="3600" b="1" dirty="0">
                <a:solidFill>
                  <a:srgbClr val="C00000"/>
                </a:solidFill>
                <a:latin typeface="Source Sans Pro" panose="020B0503030403020204" pitchFamily="34" charset="0"/>
                <a:cs typeface="Arial" panose="020B0604020202020204" pitchFamily="34" charset="0"/>
              </a:rPr>
              <a:t>Sensibilisation des citoyens de la communauté</a:t>
            </a:r>
          </a:p>
          <a:p>
            <a:pPr marL="536575" indent="-536575">
              <a:lnSpc>
                <a:spcPct val="110000"/>
              </a:lnSpc>
              <a:spcBef>
                <a:spcPts val="0"/>
              </a:spcBef>
              <a:spcAft>
                <a:spcPts val="1800"/>
              </a:spcAft>
              <a:defRPr/>
            </a:pPr>
            <a:r>
              <a:rPr lang="fr-FR" sz="3000" b="1" dirty="0">
                <a:latin typeface="Source Sans Pro" panose="020B0503030403020204" pitchFamily="34" charset="0"/>
                <a:cs typeface="Arial" panose="020B0604020202020204" pitchFamily="34" charset="0"/>
              </a:rPr>
              <a:t>Pays participants </a:t>
            </a:r>
            <a:r>
              <a:rPr lang="fr-FR" sz="3000" dirty="0">
                <a:latin typeface="Source Sans Pro" panose="020B0503030403020204" pitchFamily="34" charset="0"/>
                <a:cs typeface="Arial" panose="020B0604020202020204" pitchFamily="34" charset="0"/>
              </a:rPr>
              <a:t>: Bénin, Burkina Faso, Côte d'Ivoire, Guinée, Niger, Togo</a:t>
            </a:r>
          </a:p>
          <a:p>
            <a:pPr marL="893763" lvl="1" indent="-436563">
              <a:lnSpc>
                <a:spcPct val="110000"/>
              </a:lnSpc>
              <a:spcBef>
                <a:spcPts val="0"/>
              </a:spcBef>
              <a:spcAft>
                <a:spcPts val="1800"/>
              </a:spcAft>
              <a:buFont typeface="Wingdings" panose="05000000000000000000" pitchFamily="2" charset="2"/>
              <a:buChar char="ü"/>
              <a:defRPr/>
            </a:pPr>
            <a:r>
              <a:rPr lang="fr-FR" sz="3600" b="1" dirty="0">
                <a:solidFill>
                  <a:srgbClr val="C00000"/>
                </a:solidFill>
                <a:latin typeface="Source Sans Pro" panose="020B0503030403020204" pitchFamily="34" charset="0"/>
                <a:cs typeface="Arial" panose="020B0604020202020204" pitchFamily="34" charset="0"/>
              </a:rPr>
              <a:t>Plaidoyer pour l’adhésion des 9 Etats membres restants</a:t>
            </a:r>
          </a:p>
          <a:p>
            <a:pPr marL="536575" indent="-536575">
              <a:lnSpc>
                <a:spcPct val="110000"/>
              </a:lnSpc>
              <a:spcBef>
                <a:spcPts val="0"/>
              </a:spcBef>
              <a:spcAft>
                <a:spcPts val="1800"/>
              </a:spcAft>
              <a:defRPr/>
            </a:pPr>
            <a:r>
              <a:rPr lang="fr-FR" sz="3000" b="1" dirty="0">
                <a:latin typeface="Source Sans Pro" panose="020B0503030403020204" pitchFamily="34" charset="0"/>
                <a:cs typeface="Arial" panose="020B0604020202020204" pitchFamily="34" charset="0"/>
              </a:rPr>
              <a:t>Rôle de la Commission de la CEDEAO </a:t>
            </a:r>
            <a:r>
              <a:rPr lang="fr-FR" sz="3000" dirty="0">
                <a:latin typeface="Source Sans Pro" panose="020B0503030403020204" pitchFamily="34" charset="0"/>
                <a:cs typeface="Arial" panose="020B0604020202020204" pitchFamily="34" charset="0"/>
              </a:rPr>
              <a:t>: Assurer l'interopérabilité transfrontalière des systèmes </a:t>
            </a:r>
            <a:r>
              <a:rPr lang="fr-FR" sz="3000" i="1" dirty="0" err="1">
                <a:latin typeface="Source Sans Pro" panose="020B0503030403020204" pitchFamily="34" charset="0"/>
                <a:cs typeface="Arial" panose="020B0604020202020204" pitchFamily="34" charset="0"/>
              </a:rPr>
              <a:t>f</a:t>
            </a:r>
            <a:r>
              <a:rPr lang="fr-FR" sz="3000" dirty="0" err="1">
                <a:latin typeface="Source Sans Pro" panose="020B0503030403020204" pitchFamily="34" charset="0"/>
                <a:cs typeface="Arial" panose="020B0604020202020204" pitchFamily="34" charset="0"/>
              </a:rPr>
              <a:t>ID</a:t>
            </a:r>
            <a:r>
              <a:rPr lang="fr-FR" sz="3000" dirty="0">
                <a:latin typeface="Source Sans Pro" panose="020B0503030403020204" pitchFamily="34" charset="0"/>
                <a:cs typeface="Arial" panose="020B0604020202020204" pitchFamily="34" charset="0"/>
              </a:rPr>
              <a:t> des États membres participants et la reconnaissance mutuelle des justificatifs d'identité afin de faciliter l'accès aux services.</a:t>
            </a:r>
          </a:p>
          <a:p>
            <a:pPr marL="893763" lvl="1" indent="-436563">
              <a:lnSpc>
                <a:spcPct val="120000"/>
              </a:lnSpc>
              <a:spcBef>
                <a:spcPts val="0"/>
              </a:spcBef>
              <a:spcAft>
                <a:spcPts val="1800"/>
              </a:spcAft>
              <a:buFont typeface="Wingdings" panose="05000000000000000000" pitchFamily="2" charset="2"/>
              <a:buChar char="ü"/>
              <a:defRPr/>
            </a:pPr>
            <a:r>
              <a:rPr lang="fr-FR" sz="3600" b="1" dirty="0">
                <a:solidFill>
                  <a:srgbClr val="C00000"/>
                </a:solidFill>
                <a:latin typeface="Source Sans Pro" panose="020B0503030403020204" pitchFamily="34" charset="0"/>
                <a:cs typeface="Arial" panose="020B0604020202020204" pitchFamily="34" charset="0"/>
              </a:rPr>
              <a:t>Plaidoyer, sensibilisation, visibilité</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4</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ONTEXTE</a:t>
            </a:r>
          </a:p>
        </p:txBody>
      </p:sp>
    </p:spTree>
    <p:extLst>
      <p:ext uri="{BB962C8B-B14F-4D97-AF65-F5344CB8AC3E}">
        <p14:creationId xmlns:p14="http://schemas.microsoft.com/office/powerpoint/2010/main" val="827071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3"/>
            <a:ext cx="11106584" cy="6594070"/>
          </a:xfrm>
        </p:spPr>
        <p:txBody>
          <a:bodyPr anchor="t">
            <a:normAutofit/>
          </a:bodyPr>
          <a:lstStyle/>
          <a:p>
            <a:pPr marL="536575" indent="-536575">
              <a:lnSpc>
                <a:spcPct val="110000"/>
              </a:lnSpc>
              <a:spcBef>
                <a:spcPts val="0"/>
              </a:spcBef>
              <a:spcAft>
                <a:spcPts val="1800"/>
              </a:spcAft>
              <a:defRPr/>
            </a:pPr>
            <a:r>
              <a:rPr lang="fr-FR" sz="3600" dirty="0">
                <a:latin typeface="Source Sans Pro" panose="020B0503030403020204" pitchFamily="34" charset="0"/>
                <a:cs typeface="Arial" panose="020B0604020202020204" pitchFamily="34" charset="0"/>
              </a:rPr>
              <a:t>Nécessité de disposer d’un cadre pour assurer la bonne communication: </a:t>
            </a:r>
          </a:p>
          <a:p>
            <a:pPr marL="893763" lvl="1" indent="-436563">
              <a:spcBef>
                <a:spcPts val="0"/>
              </a:spcBef>
              <a:spcAft>
                <a:spcPts val="1800"/>
              </a:spcAft>
              <a:buFont typeface="Wingdings" panose="05000000000000000000" pitchFamily="2" charset="2"/>
              <a:buChar char="ü"/>
              <a:defRPr/>
            </a:pPr>
            <a:r>
              <a:rPr lang="fr-FR" sz="3600" b="1" dirty="0">
                <a:latin typeface="Source Sans Pro" panose="020B0503030403020204" pitchFamily="34" charset="0"/>
                <a:cs typeface="Arial" panose="020B0604020202020204" pitchFamily="34" charset="0"/>
              </a:rPr>
              <a:t>Création de visibilité</a:t>
            </a:r>
          </a:p>
          <a:p>
            <a:pPr marL="893763" lvl="1" indent="-436563">
              <a:spcBef>
                <a:spcPts val="0"/>
              </a:spcBef>
              <a:spcAft>
                <a:spcPts val="1800"/>
              </a:spcAft>
              <a:buFont typeface="Wingdings" panose="05000000000000000000" pitchFamily="2" charset="2"/>
              <a:buChar char="ü"/>
              <a:defRPr/>
            </a:pPr>
            <a:r>
              <a:rPr lang="fr-FR" sz="3600" b="1" dirty="0">
                <a:latin typeface="Source Sans Pro" panose="020B0503030403020204" pitchFamily="34" charset="0"/>
                <a:cs typeface="Arial" panose="020B0604020202020204" pitchFamily="34" charset="0"/>
              </a:rPr>
              <a:t>Plaidoyer des acteurs clé et parties prenantes</a:t>
            </a:r>
          </a:p>
          <a:p>
            <a:pPr marL="893763" lvl="1" indent="-436563">
              <a:spcBef>
                <a:spcPts val="0"/>
              </a:spcBef>
              <a:spcAft>
                <a:spcPts val="1800"/>
              </a:spcAft>
              <a:buFont typeface="Wingdings" panose="05000000000000000000" pitchFamily="2" charset="2"/>
              <a:buChar char="ü"/>
              <a:defRPr/>
            </a:pPr>
            <a:r>
              <a:rPr lang="fr-FR" sz="3600" b="1" dirty="0">
                <a:latin typeface="Source Sans Pro" panose="020B0503030403020204" pitchFamily="34" charset="0"/>
                <a:cs typeface="Arial" panose="020B0604020202020204" pitchFamily="34" charset="0"/>
              </a:rPr>
              <a:t>Sensibilisation des populations de la communauté</a:t>
            </a:r>
          </a:p>
          <a:p>
            <a:pPr marL="893763" lvl="1" indent="-436563">
              <a:spcBef>
                <a:spcPts val="0"/>
              </a:spcBef>
              <a:spcAft>
                <a:spcPts val="1800"/>
              </a:spcAft>
              <a:buFont typeface="Wingdings" panose="05000000000000000000" pitchFamily="2" charset="2"/>
              <a:buChar char="ü"/>
              <a:defRPr/>
            </a:pPr>
            <a:endParaRPr lang="fr-FR" sz="3600" b="1" dirty="0">
              <a:latin typeface="Source Sans Pro" panose="020B0503030403020204" pitchFamily="34" charset="0"/>
              <a:cs typeface="Arial" panose="020B0604020202020204" pitchFamily="34" charset="0"/>
            </a:endParaRPr>
          </a:p>
          <a:p>
            <a:pPr marL="457200" lvl="1" indent="0">
              <a:spcBef>
                <a:spcPts val="0"/>
              </a:spcBef>
              <a:spcAft>
                <a:spcPts val="1800"/>
              </a:spcAft>
              <a:buNone/>
              <a:defRPr/>
            </a:pPr>
            <a:r>
              <a:rPr lang="fr-FR" sz="3600" b="1" dirty="0">
                <a:latin typeface="Source Sans Pro" panose="020B0503030403020204" pitchFamily="34" charset="0"/>
                <a:cs typeface="Arial" panose="020B0604020202020204" pitchFamily="34" charset="0"/>
              </a:rPr>
              <a:t>Stratégie de communication </a:t>
            </a:r>
            <a:r>
              <a:rPr lang="fr-FR" sz="3600" dirty="0">
                <a:latin typeface="Source Sans Pro" panose="020B0503030403020204" pitchFamily="34" charset="0"/>
                <a:cs typeface="Arial" panose="020B0604020202020204" pitchFamily="34" charset="0"/>
              </a:rPr>
              <a:t>(2024-2026) </a:t>
            </a:r>
          </a:p>
          <a:p>
            <a:pPr marL="457200" lvl="1" indent="0">
              <a:spcBef>
                <a:spcPts val="0"/>
              </a:spcBef>
              <a:spcAft>
                <a:spcPts val="1800"/>
              </a:spcAft>
              <a:buNone/>
              <a:defRPr/>
            </a:pPr>
            <a:endParaRPr lang="fr-FR" sz="3600" b="1" dirty="0">
              <a:latin typeface="Source Sans Pro" panose="020B0503030403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5</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ONTEXTE</a:t>
            </a:r>
          </a:p>
        </p:txBody>
      </p:sp>
    </p:spTree>
    <p:extLst>
      <p:ext uri="{BB962C8B-B14F-4D97-AF65-F5344CB8AC3E}">
        <p14:creationId xmlns:p14="http://schemas.microsoft.com/office/powerpoint/2010/main" val="4184901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F43B08-C64A-4F6D-98EF-BA0D275D8513}"/>
              </a:ext>
            </a:extLst>
          </p:cNvPr>
          <p:cNvSpPr>
            <a:spLocks noGrp="1"/>
          </p:cNvSpPr>
          <p:nvPr>
            <p:ph idx="1"/>
          </p:nvPr>
        </p:nvSpPr>
        <p:spPr>
          <a:xfrm>
            <a:off x="754113" y="2446074"/>
            <a:ext cx="11106584" cy="757130"/>
          </a:xfrm>
        </p:spPr>
        <p:txBody>
          <a:bodyPr anchor="t">
            <a:normAutofit/>
          </a:bodyPr>
          <a:lstStyle/>
          <a:p>
            <a:pPr marL="536575" indent="-536575">
              <a:lnSpc>
                <a:spcPct val="110000"/>
              </a:lnSpc>
              <a:spcBef>
                <a:spcPts val="0"/>
              </a:spcBef>
              <a:spcAft>
                <a:spcPts val="1800"/>
              </a:spcAft>
              <a:defRPr/>
            </a:pPr>
            <a:r>
              <a:rPr lang="fr-FR" sz="3600" b="1" dirty="0">
                <a:latin typeface="Source Sans Pro" panose="020B0503030403020204" pitchFamily="34" charset="0"/>
                <a:cs typeface="Arial" panose="020B0604020202020204" pitchFamily="34" charset="0"/>
              </a:rPr>
              <a:t>Recrutement d’un consultant individuel</a:t>
            </a:r>
          </a:p>
        </p:txBody>
      </p:sp>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6</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ONTEXTE</a:t>
            </a:r>
          </a:p>
        </p:txBody>
      </p:sp>
      <p:graphicFrame>
        <p:nvGraphicFramePr>
          <p:cNvPr id="7" name="Diagram 6">
            <a:extLst>
              <a:ext uri="{FF2B5EF4-FFF2-40B4-BE49-F238E27FC236}">
                <a16:creationId xmlns:a16="http://schemas.microsoft.com/office/drawing/2014/main" id="{64D9F650-A898-CA72-81B2-EB6B7FD1CA7C}"/>
              </a:ext>
            </a:extLst>
          </p:cNvPr>
          <p:cNvGraphicFramePr/>
          <p:nvPr>
            <p:extLst>
              <p:ext uri="{D42A27DB-BD31-4B8C-83A1-F6EECF244321}">
                <p14:modId xmlns:p14="http://schemas.microsoft.com/office/powerpoint/2010/main" val="2032016713"/>
              </p:ext>
            </p:extLst>
          </p:nvPr>
        </p:nvGraphicFramePr>
        <p:xfrm>
          <a:off x="1290424" y="3260232"/>
          <a:ext cx="10285049" cy="5779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98317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fr-FR" altLang="en-US" sz="2400" b="1" i="0" u="none" strike="noStrike" kern="0" cap="none" spc="0" normalizeH="0" baseline="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7</a:t>
            </a:fld>
            <a:endParaRPr kumimoji="0" lang="fr-FR" altLang="en-US" sz="2400" b="1" i="0" u="none" strike="noStrike" kern="0" cap="none" spc="0" normalizeH="0" baseline="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eaLnBrk="1"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OBJECTIFS</a:t>
            </a:r>
          </a:p>
        </p:txBody>
      </p:sp>
      <p:graphicFrame>
        <p:nvGraphicFramePr>
          <p:cNvPr id="5" name="Diagram 4">
            <a:extLst>
              <a:ext uri="{FF2B5EF4-FFF2-40B4-BE49-F238E27FC236}">
                <a16:creationId xmlns:a16="http://schemas.microsoft.com/office/drawing/2014/main" id="{911253E2-7C8B-5396-FF38-7F4BD8290AA2}"/>
              </a:ext>
            </a:extLst>
          </p:cNvPr>
          <p:cNvGraphicFramePr/>
          <p:nvPr>
            <p:extLst>
              <p:ext uri="{D42A27DB-BD31-4B8C-83A1-F6EECF244321}">
                <p14:modId xmlns:p14="http://schemas.microsoft.com/office/powerpoint/2010/main" val="1851491005"/>
              </p:ext>
            </p:extLst>
          </p:nvPr>
        </p:nvGraphicFramePr>
        <p:xfrm>
          <a:off x="1122218" y="2506133"/>
          <a:ext cx="10827327" cy="5848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80156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en-US" altLang="en-US" sz="2400" b="1" i="0" u="none" strike="noStrike" kern="0" cap="none" spc="0" normalizeH="0" baseline="0" noProof="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8</a:t>
            </a:fld>
            <a:endParaRPr kumimoji="0" lang="en-US" altLang="en-US" sz="2400" b="1" i="0" u="none" strike="noStrike" kern="0" cap="none" spc="0" normalizeH="0" baseline="0" noProof="0" dirty="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IBLES DE LA MISSION</a:t>
            </a:r>
            <a:endParaRPr lang="en-GB"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endParaRPr>
          </a:p>
        </p:txBody>
      </p:sp>
      <p:graphicFrame>
        <p:nvGraphicFramePr>
          <p:cNvPr id="11" name="Diagram 10">
            <a:extLst>
              <a:ext uri="{FF2B5EF4-FFF2-40B4-BE49-F238E27FC236}">
                <a16:creationId xmlns:a16="http://schemas.microsoft.com/office/drawing/2014/main" id="{B96AC0EF-D837-EC0A-0B90-8AD69A431631}"/>
              </a:ext>
            </a:extLst>
          </p:cNvPr>
          <p:cNvGraphicFramePr/>
          <p:nvPr>
            <p:extLst>
              <p:ext uri="{D42A27DB-BD31-4B8C-83A1-F6EECF244321}">
                <p14:modId xmlns:p14="http://schemas.microsoft.com/office/powerpoint/2010/main" val="1646562470"/>
              </p:ext>
            </p:extLst>
          </p:nvPr>
        </p:nvGraphicFramePr>
        <p:xfrm>
          <a:off x="1290424" y="3260232"/>
          <a:ext cx="10285049" cy="5779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07056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7B704B-3015-4206-84F2-77EB0E9C4753}"/>
              </a:ext>
            </a:extLst>
          </p:cNvPr>
          <p:cNvSpPr>
            <a:spLocks noGrp="1"/>
          </p:cNvSpPr>
          <p:nvPr>
            <p:ph type="sldNum" sz="quarter" idx="12"/>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1944D41C-65DB-4833-8D6C-22074FB5FB8B}" type="slidenum">
              <a:rPr kumimoji="0" lang="en-US" altLang="en-US" sz="2400" b="1" i="0" u="none" strike="noStrike" kern="0" cap="none" spc="0" normalizeH="0" baseline="0" noProof="0" smtClean="0">
                <a:ln>
                  <a:noFill/>
                </a:ln>
                <a:solidFill>
                  <a:srgbClr val="FFFFFF"/>
                </a:solidFill>
                <a:effectLst/>
                <a:uLnTx/>
                <a:uFillTx/>
                <a:latin typeface="Helvetica Neue"/>
                <a:sym typeface="Helvetica Neue"/>
              </a:rPr>
              <a:pPr marL="0" marR="0" lvl="0" indent="0" algn="ctr" defTabSz="584200" rtl="0" eaLnBrk="1" fontAlgn="auto" latinLnBrk="0" hangingPunct="0">
                <a:lnSpc>
                  <a:spcPct val="100000"/>
                </a:lnSpc>
                <a:spcBef>
                  <a:spcPts val="0"/>
                </a:spcBef>
                <a:spcAft>
                  <a:spcPts val="0"/>
                </a:spcAft>
                <a:buClrTx/>
                <a:buSzTx/>
                <a:buFontTx/>
                <a:buNone/>
                <a:tabLst/>
                <a:defRPr/>
              </a:pPr>
              <a:t>9</a:t>
            </a:fld>
            <a:endParaRPr kumimoji="0" lang="en-US" altLang="en-US" sz="2400" b="1" i="0" u="none" strike="noStrike" kern="0" cap="none" spc="0" normalizeH="0" baseline="0" noProof="0" dirty="0">
              <a:ln>
                <a:noFill/>
              </a:ln>
              <a:solidFill>
                <a:srgbClr val="FFFFFF"/>
              </a:solidFill>
              <a:effectLst/>
              <a:uLnTx/>
              <a:uFillTx/>
              <a:latin typeface="Helvetica Neue"/>
              <a:sym typeface="Helvetica Neue"/>
            </a:endParaRPr>
          </a:p>
        </p:txBody>
      </p:sp>
      <p:sp>
        <p:nvSpPr>
          <p:cNvPr id="2" name="TextBox 1">
            <a:extLst>
              <a:ext uri="{FF2B5EF4-FFF2-40B4-BE49-F238E27FC236}">
                <a16:creationId xmlns:a16="http://schemas.microsoft.com/office/drawing/2014/main" id="{76806D48-483D-495E-9D8C-394A00FC55FA}"/>
              </a:ext>
            </a:extLst>
          </p:cNvPr>
          <p:cNvSpPr txBox="1"/>
          <p:nvPr/>
        </p:nvSpPr>
        <p:spPr>
          <a:xfrm>
            <a:off x="5625358" y="490330"/>
            <a:ext cx="6485362" cy="757130"/>
          </a:xfrm>
          <a:prstGeom prst="rect">
            <a:avLst/>
          </a:prstGeom>
          <a:noFill/>
        </p:spPr>
        <p:txBody>
          <a:bodyPr wrap="square" rtlCol="0">
            <a:spAutoFit/>
          </a:bodyPr>
          <a:lstStyle/>
          <a:p>
            <a:pPr lvl="0" algn="r" defTabSz="914400" hangingPunct="1">
              <a:lnSpc>
                <a:spcPct val="90000"/>
              </a:lnSpc>
              <a:spcBef>
                <a:spcPts val="1000"/>
              </a:spcBef>
              <a:defRPr/>
            </a:pPr>
            <a:r>
              <a:rPr lang="fr-FR"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rPr>
              <a:t>CIBLES DE LA MISSION</a:t>
            </a:r>
            <a:endParaRPr lang="en-GB" sz="4800" dirty="0">
              <a:solidFill>
                <a:srgbClr val="008000"/>
              </a:solidFill>
              <a:latin typeface="Source Sans Pro" panose="020B0503030403020204" pitchFamily="34" charset="0"/>
              <a:ea typeface="Source Sans Pro" panose="020B050303040302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1DBFD1FD-7BEF-58B4-9FD1-C89A5887478C}"/>
              </a:ext>
            </a:extLst>
          </p:cNvPr>
          <p:cNvGraphicFramePr/>
          <p:nvPr>
            <p:extLst>
              <p:ext uri="{D42A27DB-BD31-4B8C-83A1-F6EECF244321}">
                <p14:modId xmlns:p14="http://schemas.microsoft.com/office/powerpoint/2010/main" val="610792649"/>
              </p:ext>
            </p:extLst>
          </p:nvPr>
        </p:nvGraphicFramePr>
        <p:xfrm>
          <a:off x="893618" y="2755772"/>
          <a:ext cx="10931237" cy="6284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3593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LogoImag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LCdCr7b8V5tMAt5Ww18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KavpBkrQmePNlfDcmVqT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Titel slide">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äsentation2" id="{DDBF05E1-656B-C44F-BBE8-18C24706E747}" vid="{8257E685-30C7-3440-9BD3-3ECA62FD13A7}"/>
    </a:ext>
  </a:extLst>
</a:theme>
</file>

<file path=ppt/theme/theme2.xml><?xml version="1.0" encoding="utf-8"?>
<a:theme xmlns:a="http://schemas.openxmlformats.org/drawingml/2006/main" name="Slide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DDBF05E1-656B-C44F-BBE8-18C24706E747}" vid="{94F1ED54-557C-3242-B556-724B7FC43D5D}"/>
    </a:ext>
  </a:extLst>
</a:theme>
</file>

<file path=ppt/theme/theme3.xml><?xml version="1.0" encoding="utf-8"?>
<a:theme xmlns:a="http://schemas.openxmlformats.org/drawingml/2006/main" name="Slide 3">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äsentation2" id="{DDBF05E1-656B-C44F-BBE8-18C24706E747}" vid="{BF1C2614-1D8F-DA4B-B62C-BD506349A1CC}"/>
    </a:ext>
  </a:extLst>
</a:theme>
</file>

<file path=ppt/theme/theme4.xml><?xml version="1.0" encoding="utf-8"?>
<a:theme xmlns:a="http://schemas.openxmlformats.org/drawingml/2006/main" name="Firm Format - template_Blue">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5.xml><?xml version="1.0" encoding="utf-8"?>
<a:theme xmlns:a="http://schemas.openxmlformats.org/drawingml/2006/main" name="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5946a2d-77b0-45d7-85b4-79cafa3b5960">
      <Terms xmlns="http://schemas.microsoft.com/office/infopath/2007/PartnerControls"/>
    </lcf76f155ced4ddcb4097134ff3c332f>
    <TaxCatchAll xmlns="3e02667f-0271-471b-bd6e-11a2e16def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58AF25A1562843AF5740A53958D387" ma:contentTypeVersion="18" ma:contentTypeDescription="Create a new document." ma:contentTypeScope="" ma:versionID="c4e7c157f4619630fdc30c29bab3974d">
  <xsd:schema xmlns:xsd="http://www.w3.org/2001/XMLSchema" xmlns:xs="http://www.w3.org/2001/XMLSchema" xmlns:p="http://schemas.microsoft.com/office/2006/metadata/properties" xmlns:ns2="e5946a2d-77b0-45d7-85b4-79cafa3b5960" xmlns:ns3="e4b47e93-2d86-46c6-9aa4-cbd992e7de24" xmlns:ns4="3e02667f-0271-471b-bd6e-11a2e16def1d" targetNamespace="http://schemas.microsoft.com/office/2006/metadata/properties" ma:root="true" ma:fieldsID="b7eb5bded5ec72b95bc2be3f5c191a47" ns2:_="" ns3:_="" ns4:_="">
    <xsd:import namespace="e5946a2d-77b0-45d7-85b4-79cafa3b5960"/>
    <xsd:import namespace="e4b47e93-2d86-46c6-9aa4-cbd992e7de24"/>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946a2d-77b0-45d7-85b4-79cafa3b59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b47e93-2d86-46c6-9aa4-cbd992e7de2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a606b58-8fa8-4cbd-b1ef-34ee062a5d34}" ma:internalName="TaxCatchAll" ma:showField="CatchAllData" ma:web="e4b47e93-2d86-46c6-9aa4-cbd992e7de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7833948-154B-4063-A76E-A79859761C68}">
  <ds:schemaRefs>
    <ds:schemaRef ds:uri="http://schemas.microsoft.com/office/2006/metadata/properties"/>
    <ds:schemaRef ds:uri="http://schemas.microsoft.com/office/infopath/2007/PartnerControls"/>
    <ds:schemaRef ds:uri="e5946a2d-77b0-45d7-85b4-79cafa3b5960"/>
    <ds:schemaRef ds:uri="3e02667f-0271-471b-bd6e-11a2e16def1d"/>
  </ds:schemaRefs>
</ds:datastoreItem>
</file>

<file path=customXml/itemProps2.xml><?xml version="1.0" encoding="utf-8"?>
<ds:datastoreItem xmlns:ds="http://schemas.openxmlformats.org/officeDocument/2006/customXml" ds:itemID="{1B74005B-DB4B-43A4-8DEE-76E45CE77D58}">
  <ds:schemaRefs>
    <ds:schemaRef ds:uri="http://schemas.microsoft.com/sharepoint/v3/contenttype/forms"/>
  </ds:schemaRefs>
</ds:datastoreItem>
</file>

<file path=customXml/itemProps3.xml><?xml version="1.0" encoding="utf-8"?>
<ds:datastoreItem xmlns:ds="http://schemas.openxmlformats.org/officeDocument/2006/customXml" ds:itemID="{6ACA080B-7B8A-426B-93F0-74A15F36A2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946a2d-77b0-45d7-85b4-79cafa3b5960"/>
    <ds:schemaRef ds:uri="e4b47e93-2d86-46c6-9aa4-cbd992e7de24"/>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itel slide</Template>
  <TotalTime>17416</TotalTime>
  <Words>691</Words>
  <Application>Microsoft Office PowerPoint</Application>
  <PresentationFormat>Custom</PresentationFormat>
  <Paragraphs>111</Paragraphs>
  <Slides>15</Slides>
  <Notes>15</Notes>
  <HiddenSlides>0</HiddenSlides>
  <MMClips>0</MMClips>
  <ScaleCrop>false</ScaleCrop>
  <HeadingPairs>
    <vt:vector size="4" baseType="variant">
      <vt:variant>
        <vt:lpstr>Theme</vt:lpstr>
      </vt:variant>
      <vt:variant>
        <vt:i4>4</vt:i4>
      </vt:variant>
      <vt:variant>
        <vt:lpstr>Slide Titles</vt:lpstr>
      </vt:variant>
      <vt:variant>
        <vt:i4>15</vt:i4>
      </vt:variant>
    </vt:vector>
  </HeadingPairs>
  <TitlesOfParts>
    <vt:vector size="19" baseType="lpstr">
      <vt:lpstr>Titel slide</vt:lpstr>
      <vt:lpstr>Slide 2</vt:lpstr>
      <vt:lpstr>Slide 3</vt:lpstr>
      <vt:lpstr>Firm Format - template_Bl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r. Aladdin Jokhosha</dc:creator>
  <cp:lastModifiedBy>Harvey Kosigah DE HARDT-KAFFILS</cp:lastModifiedBy>
  <cp:revision>400</cp:revision>
  <cp:lastPrinted>2022-12-02T10:42:05Z</cp:lastPrinted>
  <dcterms:created xsi:type="dcterms:W3CDTF">2020-06-11T20:22:14Z</dcterms:created>
  <dcterms:modified xsi:type="dcterms:W3CDTF">2024-05-16T14:3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58AF25A1562843AF5740A53958D387</vt:lpwstr>
  </property>
</Properties>
</file>